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webextensions/webextension1.xml" ContentType="application/vnd.ms-office.webextension+xml"/>
  <Override PartName="/ppt/webextensions/webextension2.xml" ContentType="application/vnd.ms-office.webextension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webextensions/webextension3.xml" ContentType="application/vnd.ms-office.webextension+xml"/>
  <Override PartName="/ppt/webextensions/webextension4.xml" ContentType="application/vnd.ms-office.webextension+xml"/>
  <Override PartName="/ppt/webextensions/webextension5.xml" ContentType="application/vnd.ms-office.webextension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74" r:id="rId2"/>
  </p:sldMasterIdLst>
  <p:notesMasterIdLst>
    <p:notesMasterId r:id="rId20"/>
  </p:notesMasterIdLst>
  <p:sldIdLst>
    <p:sldId id="256" r:id="rId3"/>
    <p:sldId id="257" r:id="rId4"/>
    <p:sldId id="3445" r:id="rId5"/>
    <p:sldId id="3420" r:id="rId6"/>
    <p:sldId id="3446" r:id="rId7"/>
    <p:sldId id="3447" r:id="rId8"/>
    <p:sldId id="3436" r:id="rId9"/>
    <p:sldId id="3428" r:id="rId10"/>
    <p:sldId id="3444" r:id="rId11"/>
    <p:sldId id="3449" r:id="rId12"/>
    <p:sldId id="3453" r:id="rId13"/>
    <p:sldId id="334" r:id="rId14"/>
    <p:sldId id="3432" r:id="rId15"/>
    <p:sldId id="3450" r:id="rId16"/>
    <p:sldId id="3452" r:id="rId17"/>
    <p:sldId id="3443" r:id="rId18"/>
    <p:sldId id="3438" r:id="rId19"/>
  </p:sldIdLst>
  <p:sldSz cx="12192000" cy="6858000"/>
  <p:notesSz cx="7010400" cy="9296400"/>
  <p:custDataLst>
    <p:tags r:id="rId2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D3F6EC7-F0AC-0B6B-1E55-83294C490C62}" name="Angie Miller" initials="AM" userId="S::AMiller@awwa.org::fec8d04d-536a-4768-a446-c8cb8da4411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D288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58517A2-36D7-45C6-AA02-4D211D56A25C}" v="1" dt="2023-08-22T15:10:22.20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87" autoAdjust="0"/>
    <p:restoredTop sz="91187" autoAdjust="0"/>
  </p:normalViewPr>
  <p:slideViewPr>
    <p:cSldViewPr snapToGrid="0">
      <p:cViewPr varScale="1">
        <p:scale>
          <a:sx n="104" d="100"/>
          <a:sy n="104" d="100"/>
        </p:scale>
        <p:origin x="81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microsoft.com/office/2016/11/relationships/changesInfo" Target="changesInfos/changesInfo1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28" Type="http://schemas.microsoft.com/office/2018/10/relationships/authors" Target="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Relationship Id="rId27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vid LaFrance" userId="0b378257-fd9d-47ca-a372-84d31e9b62d3" providerId="ADAL" clId="{FA9BD3AC-81D6-4AE2-B633-330A93A5FC97}"/>
    <pc:docChg chg="undo custSel addSld delSld modSld sldOrd">
      <pc:chgData name="David LaFrance" userId="0b378257-fd9d-47ca-a372-84d31e9b62d3" providerId="ADAL" clId="{FA9BD3AC-81D6-4AE2-B633-330A93A5FC97}" dt="2023-08-17T20:42:52.878" v="80"/>
      <pc:docMkLst>
        <pc:docMk/>
      </pc:docMkLst>
      <pc:sldChg chg="ord">
        <pc:chgData name="David LaFrance" userId="0b378257-fd9d-47ca-a372-84d31e9b62d3" providerId="ADAL" clId="{FA9BD3AC-81D6-4AE2-B633-330A93A5FC97}" dt="2023-08-17T20:33:24.045" v="7"/>
        <pc:sldMkLst>
          <pc:docMk/>
          <pc:sldMk cId="1140669698" sldId="3396"/>
        </pc:sldMkLst>
      </pc:sldChg>
      <pc:sldChg chg="modAnim">
        <pc:chgData name="David LaFrance" userId="0b378257-fd9d-47ca-a372-84d31e9b62d3" providerId="ADAL" clId="{FA9BD3AC-81D6-4AE2-B633-330A93A5FC97}" dt="2023-08-17T20:42:52.878" v="80"/>
        <pc:sldMkLst>
          <pc:docMk/>
          <pc:sldMk cId="3545433882" sldId="3428"/>
        </pc:sldMkLst>
      </pc:sldChg>
      <pc:sldChg chg="addSp modSp mod">
        <pc:chgData name="David LaFrance" userId="0b378257-fd9d-47ca-a372-84d31e9b62d3" providerId="ADAL" clId="{FA9BD3AC-81D6-4AE2-B633-330A93A5FC97}" dt="2023-08-17T20:38:46.811" v="76" actId="1076"/>
        <pc:sldMkLst>
          <pc:docMk/>
          <pc:sldMk cId="1272266132" sldId="3438"/>
        </pc:sldMkLst>
        <pc:spChg chg="mod">
          <ac:chgData name="David LaFrance" userId="0b378257-fd9d-47ca-a372-84d31e9b62d3" providerId="ADAL" clId="{FA9BD3AC-81D6-4AE2-B633-330A93A5FC97}" dt="2023-08-17T20:36:38.243" v="41" actId="14100"/>
          <ac:spMkLst>
            <pc:docMk/>
            <pc:sldMk cId="1272266132" sldId="3438"/>
            <ac:spMk id="2" creationId="{635EE50F-1A6C-A778-604B-6722E785E467}"/>
          </ac:spMkLst>
        </pc:spChg>
        <pc:spChg chg="add mod">
          <ac:chgData name="David LaFrance" userId="0b378257-fd9d-47ca-a372-84d31e9b62d3" providerId="ADAL" clId="{FA9BD3AC-81D6-4AE2-B633-330A93A5FC97}" dt="2023-08-17T20:38:31.984" v="73" actId="1076"/>
          <ac:spMkLst>
            <pc:docMk/>
            <pc:sldMk cId="1272266132" sldId="3438"/>
            <ac:spMk id="4" creationId="{2460FDCE-316F-F6AB-7761-5DB308D789D5}"/>
          </ac:spMkLst>
        </pc:spChg>
        <pc:graphicFrameChg chg="mod">
          <ac:chgData name="David LaFrance" userId="0b378257-fd9d-47ca-a372-84d31e9b62d3" providerId="ADAL" clId="{FA9BD3AC-81D6-4AE2-B633-330A93A5FC97}" dt="2023-08-17T20:36:18.120" v="38" actId="1076"/>
          <ac:graphicFrameMkLst>
            <pc:docMk/>
            <pc:sldMk cId="1272266132" sldId="3438"/>
            <ac:graphicFrameMk id="22" creationId="{8AC5B260-8747-B130-CAC7-8010D47A3528}"/>
          </ac:graphicFrameMkLst>
        </pc:graphicFrameChg>
        <pc:picChg chg="add mod">
          <ac:chgData name="David LaFrance" userId="0b378257-fd9d-47ca-a372-84d31e9b62d3" providerId="ADAL" clId="{FA9BD3AC-81D6-4AE2-B633-330A93A5FC97}" dt="2023-08-17T20:38:09.219" v="65" actId="1076"/>
          <ac:picMkLst>
            <pc:docMk/>
            <pc:sldMk cId="1272266132" sldId="3438"/>
            <ac:picMk id="3" creationId="{2A389C20-010D-54EE-C6A8-A1424B5C4FE2}"/>
          </ac:picMkLst>
        </pc:picChg>
        <pc:picChg chg="add mod">
          <ac:chgData name="David LaFrance" userId="0b378257-fd9d-47ca-a372-84d31e9b62d3" providerId="ADAL" clId="{FA9BD3AC-81D6-4AE2-B633-330A93A5FC97}" dt="2023-08-17T20:38:39.159" v="74" actId="14100"/>
          <ac:picMkLst>
            <pc:docMk/>
            <pc:sldMk cId="1272266132" sldId="3438"/>
            <ac:picMk id="5" creationId="{C524D911-1F7A-350E-FA7F-423F304E9801}"/>
          </ac:picMkLst>
        </pc:picChg>
        <pc:picChg chg="add mod">
          <ac:chgData name="David LaFrance" userId="0b378257-fd9d-47ca-a372-84d31e9b62d3" providerId="ADAL" clId="{FA9BD3AC-81D6-4AE2-B633-330A93A5FC97}" dt="2023-08-17T20:38:39.159" v="74" actId="14100"/>
          <ac:picMkLst>
            <pc:docMk/>
            <pc:sldMk cId="1272266132" sldId="3438"/>
            <ac:picMk id="6" creationId="{AE1532FF-B75A-374A-AC0B-5EB68EBD8E03}"/>
          </ac:picMkLst>
        </pc:picChg>
        <pc:picChg chg="mod">
          <ac:chgData name="David LaFrance" userId="0b378257-fd9d-47ca-a372-84d31e9b62d3" providerId="ADAL" clId="{FA9BD3AC-81D6-4AE2-B633-330A93A5FC97}" dt="2023-08-17T20:36:15.730" v="37" actId="1076"/>
          <ac:picMkLst>
            <pc:docMk/>
            <pc:sldMk cId="1272266132" sldId="3438"/>
            <ac:picMk id="7" creationId="{5D03D57D-4E0F-4A1B-766E-AA0D4D09CE48}"/>
          </ac:picMkLst>
        </pc:picChg>
        <pc:picChg chg="add mod">
          <ac:chgData name="David LaFrance" userId="0b378257-fd9d-47ca-a372-84d31e9b62d3" providerId="ADAL" clId="{FA9BD3AC-81D6-4AE2-B633-330A93A5FC97}" dt="2023-08-17T20:38:39.159" v="74" actId="14100"/>
          <ac:picMkLst>
            <pc:docMk/>
            <pc:sldMk cId="1272266132" sldId="3438"/>
            <ac:picMk id="8" creationId="{F18569DC-FA0B-E4D8-6DCA-4330B19BA647}"/>
          </ac:picMkLst>
        </pc:picChg>
        <pc:picChg chg="add mod">
          <ac:chgData name="David LaFrance" userId="0b378257-fd9d-47ca-a372-84d31e9b62d3" providerId="ADAL" clId="{FA9BD3AC-81D6-4AE2-B633-330A93A5FC97}" dt="2023-08-17T20:38:39.159" v="74" actId="14100"/>
          <ac:picMkLst>
            <pc:docMk/>
            <pc:sldMk cId="1272266132" sldId="3438"/>
            <ac:picMk id="9" creationId="{A45A3C81-C5C6-1D3C-CA85-158A35CF7C2B}"/>
          </ac:picMkLst>
        </pc:picChg>
        <pc:picChg chg="add mod">
          <ac:chgData name="David LaFrance" userId="0b378257-fd9d-47ca-a372-84d31e9b62d3" providerId="ADAL" clId="{FA9BD3AC-81D6-4AE2-B633-330A93A5FC97}" dt="2023-08-17T20:38:46.811" v="76" actId="1076"/>
          <ac:picMkLst>
            <pc:docMk/>
            <pc:sldMk cId="1272266132" sldId="3438"/>
            <ac:picMk id="11" creationId="{C734FED0-AF27-B639-D691-D3E7EF0672A2}"/>
          </ac:picMkLst>
        </pc:picChg>
      </pc:sldChg>
      <pc:sldChg chg="modSp mod">
        <pc:chgData name="David LaFrance" userId="0b378257-fd9d-47ca-a372-84d31e9b62d3" providerId="ADAL" clId="{FA9BD3AC-81D6-4AE2-B633-330A93A5FC97}" dt="2023-08-17T20:41:18.827" v="78" actId="14100"/>
        <pc:sldMkLst>
          <pc:docMk/>
          <pc:sldMk cId="1874779032" sldId="3446"/>
        </pc:sldMkLst>
        <pc:spChg chg="mod">
          <ac:chgData name="David LaFrance" userId="0b378257-fd9d-47ca-a372-84d31e9b62d3" providerId="ADAL" clId="{FA9BD3AC-81D6-4AE2-B633-330A93A5FC97}" dt="2023-08-17T20:41:18.827" v="78" actId="14100"/>
          <ac:spMkLst>
            <pc:docMk/>
            <pc:sldMk cId="1874779032" sldId="3446"/>
            <ac:spMk id="2" creationId="{4A5CFCC9-A92E-4F09-1BC7-39CF8FED8E76}"/>
          </ac:spMkLst>
        </pc:spChg>
      </pc:sldChg>
      <pc:sldChg chg="addSp delSp modSp mod">
        <pc:chgData name="David LaFrance" userId="0b378257-fd9d-47ca-a372-84d31e9b62d3" providerId="ADAL" clId="{FA9BD3AC-81D6-4AE2-B633-330A93A5FC97}" dt="2023-08-17T20:26:38.983" v="5" actId="14100"/>
        <pc:sldMkLst>
          <pc:docMk/>
          <pc:sldMk cId="184791522" sldId="3452"/>
        </pc:sldMkLst>
        <pc:graphicFrameChg chg="del">
          <ac:chgData name="David LaFrance" userId="0b378257-fd9d-47ca-a372-84d31e9b62d3" providerId="ADAL" clId="{FA9BD3AC-81D6-4AE2-B633-330A93A5FC97}" dt="2023-08-17T20:23:02.004" v="0" actId="478"/>
          <ac:graphicFrameMkLst>
            <pc:docMk/>
            <pc:sldMk cId="184791522" sldId="3452"/>
            <ac:graphicFrameMk id="2" creationId="{BD0E7CC5-8F9F-C370-1A48-1314F794D8B7}"/>
          </ac:graphicFrameMkLst>
        </pc:graphicFrameChg>
        <pc:graphicFrameChg chg="add mod">
          <ac:chgData name="David LaFrance" userId="0b378257-fd9d-47ca-a372-84d31e9b62d3" providerId="ADAL" clId="{FA9BD3AC-81D6-4AE2-B633-330A93A5FC97}" dt="2023-08-17T20:26:38.983" v="5" actId="14100"/>
          <ac:graphicFrameMkLst>
            <pc:docMk/>
            <pc:sldMk cId="184791522" sldId="3452"/>
            <ac:graphicFrameMk id="3" creationId="{0FA9B452-7193-0315-5CCB-986F620D500E}"/>
          </ac:graphicFrameMkLst>
        </pc:graphicFrameChg>
      </pc:sldChg>
      <pc:sldChg chg="new del">
        <pc:chgData name="David LaFrance" userId="0b378257-fd9d-47ca-a372-84d31e9b62d3" providerId="ADAL" clId="{FA9BD3AC-81D6-4AE2-B633-330A93A5FC97}" dt="2023-08-17T20:34:37.789" v="20" actId="680"/>
        <pc:sldMkLst>
          <pc:docMk/>
          <pc:sldMk cId="1564301261" sldId="3454"/>
        </pc:sldMkLst>
      </pc:sldChg>
    </pc:docChg>
  </pc:docChgLst>
  <pc:docChgLst>
    <pc:chgData name="Angie Miller" userId="fec8d04d-536a-4768-a446-c8cb8da4411d" providerId="ADAL" clId="{F58517A2-36D7-45C6-AA02-4D211D56A25C}"/>
    <pc:docChg chg="delSld modSld modNotesMaster">
      <pc:chgData name="Angie Miller" userId="fec8d04d-536a-4768-a446-c8cb8da4411d" providerId="ADAL" clId="{F58517A2-36D7-45C6-AA02-4D211D56A25C}" dt="2023-08-22T21:08:51.936" v="7" actId="20577"/>
      <pc:docMkLst>
        <pc:docMk/>
      </pc:docMkLst>
      <pc:sldChg chg="modSp mod">
        <pc:chgData name="Angie Miller" userId="fec8d04d-536a-4768-a446-c8cb8da4411d" providerId="ADAL" clId="{F58517A2-36D7-45C6-AA02-4D211D56A25C}" dt="2023-08-22T21:08:51.936" v="7" actId="20577"/>
        <pc:sldMkLst>
          <pc:docMk/>
          <pc:sldMk cId="1231865141" sldId="256"/>
        </pc:sldMkLst>
        <pc:spChg chg="mod">
          <ac:chgData name="Angie Miller" userId="fec8d04d-536a-4768-a446-c8cb8da4411d" providerId="ADAL" clId="{F58517A2-36D7-45C6-AA02-4D211D56A25C}" dt="2023-08-22T21:08:51.936" v="7" actId="20577"/>
          <ac:spMkLst>
            <pc:docMk/>
            <pc:sldMk cId="1231865141" sldId="256"/>
            <ac:spMk id="13" creationId="{8E3EC04D-DB73-1FB5-E4EF-4EA983DFDE33}"/>
          </ac:spMkLst>
        </pc:spChg>
      </pc:sldChg>
      <pc:sldChg chg="modSp mod">
        <pc:chgData name="Angie Miller" userId="fec8d04d-536a-4768-a446-c8cb8da4411d" providerId="ADAL" clId="{F58517A2-36D7-45C6-AA02-4D211D56A25C}" dt="2023-08-22T15:15:13.892" v="5" actId="20577"/>
        <pc:sldMkLst>
          <pc:docMk/>
          <pc:sldMk cId="1670646481" sldId="257"/>
        </pc:sldMkLst>
        <pc:spChg chg="mod">
          <ac:chgData name="Angie Miller" userId="fec8d04d-536a-4768-a446-c8cb8da4411d" providerId="ADAL" clId="{F58517A2-36D7-45C6-AA02-4D211D56A25C}" dt="2023-08-22T15:15:13.892" v="5" actId="20577"/>
          <ac:spMkLst>
            <pc:docMk/>
            <pc:sldMk cId="1670646481" sldId="257"/>
            <ac:spMk id="3" creationId="{D61C1E28-6633-ED1D-D38C-707EBE195206}"/>
          </ac:spMkLst>
        </pc:spChg>
      </pc:sldChg>
      <pc:sldChg chg="del">
        <pc:chgData name="Angie Miller" userId="fec8d04d-536a-4768-a446-c8cb8da4411d" providerId="ADAL" clId="{F58517A2-36D7-45C6-AA02-4D211D56A25C}" dt="2023-08-22T15:09:43.089" v="0" actId="47"/>
        <pc:sldMkLst>
          <pc:docMk/>
          <pc:sldMk cId="1140669698" sldId="3396"/>
        </pc:sldMkLst>
      </pc:sldChg>
      <pc:sldChg chg="modSp mod">
        <pc:chgData name="Angie Miller" userId="fec8d04d-536a-4768-a446-c8cb8da4411d" providerId="ADAL" clId="{F58517A2-36D7-45C6-AA02-4D211D56A25C}" dt="2023-08-22T15:10:08.534" v="2" actId="1076"/>
        <pc:sldMkLst>
          <pc:docMk/>
          <pc:sldMk cId="3740512254" sldId="3449"/>
        </pc:sldMkLst>
        <pc:spChg chg="mod">
          <ac:chgData name="Angie Miller" userId="fec8d04d-536a-4768-a446-c8cb8da4411d" providerId="ADAL" clId="{F58517A2-36D7-45C6-AA02-4D211D56A25C}" dt="2023-08-22T15:10:08.534" v="2" actId="1076"/>
          <ac:spMkLst>
            <pc:docMk/>
            <pc:sldMk cId="3740512254" sldId="3449"/>
            <ac:spMk id="11" creationId="{B044C483-F119-645B-4D4B-194BF9E6A9A7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6532918242047932E-2"/>
          <c:y val="0.10601673403947494"/>
          <c:w val="0.92327618601639549"/>
          <c:h val="0.71613120997172086"/>
        </c:manualLayout>
      </c:layout>
      <c:lineChart>
        <c:grouping val="standard"/>
        <c:varyColors val="0"/>
        <c:ser>
          <c:idx val="0"/>
          <c:order val="0"/>
          <c:tx>
            <c:strRef>
              <c:f>'Optimism Score Historic Chart'!$A$2</c:f>
              <c:strCache>
                <c:ptCount val="1"/>
                <c:pt idx="0">
                  <c:v>Current</c:v>
                </c:pt>
              </c:strCache>
            </c:strRef>
          </c:tx>
          <c:spPr>
            <a:ln w="22225" cap="rnd" cmpd="sng" algn="ctr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2.7679837651341976E-2"/>
                  <c:y val="4.62725871807643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A5F-4A0E-AB7F-C9B4CAD95C0B}"/>
                </c:ext>
              </c:extLst>
            </c:dLbl>
            <c:dLbl>
              <c:idx val="1"/>
              <c:layout>
                <c:manualLayout>
                  <c:x val="-3.2720160231987143E-2"/>
                  <c:y val="5.737136631505974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A5F-4A0E-AB7F-C9B4CAD95C0B}"/>
                </c:ext>
              </c:extLst>
            </c:dLbl>
            <c:dLbl>
              <c:idx val="2"/>
              <c:layout>
                <c:manualLayout>
                  <c:x val="-3.4400267758868848E-2"/>
                  <c:y val="4.257299413599930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A5F-4A0E-AB7F-C9B4CAD95C0B}"/>
                </c:ext>
              </c:extLst>
            </c:dLbl>
            <c:dLbl>
              <c:idx val="3"/>
              <c:layout>
                <c:manualLayout>
                  <c:x val="-2.7679837651341969E-2"/>
                  <c:y val="4.257299413599936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A5F-4A0E-AB7F-C9B4CAD95C0B}"/>
                </c:ext>
              </c:extLst>
            </c:dLbl>
            <c:dLbl>
              <c:idx val="5"/>
              <c:layout>
                <c:manualLayout>
                  <c:x val="-2.9359945178223691E-2"/>
                  <c:y val="4.257299413599936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A5F-4A0E-AB7F-C9B4CAD95C0B}"/>
                </c:ext>
              </c:extLst>
            </c:dLbl>
            <c:dLbl>
              <c:idx val="17"/>
              <c:layout>
                <c:manualLayout>
                  <c:x val="-3.02405274781181E-2"/>
                  <c:y val="3.517380804646914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A5F-4A0E-AB7F-C9B4CAD95C0B}"/>
                </c:ext>
              </c:extLst>
            </c:dLbl>
            <c:dLbl>
              <c:idx val="18"/>
              <c:layout>
                <c:manualLayout>
                  <c:x val="-6.9383259911895622E-3"/>
                  <c:y val="-3.51184598040672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A5F-4A0E-AB7F-C9B4CAD95C0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Optimism Score Historic Chart'!$B$1:$V$1</c:f>
              <c:numCache>
                <c:formatCode>General</c:formatCode>
                <c:ptCount val="21"/>
                <c:pt idx="0">
                  <c:v>2004</c:v>
                </c:pt>
                <c:pt idx="2">
                  <c:v>2006</c:v>
                </c:pt>
                <c:pt idx="4">
                  <c:v>2008</c:v>
                </c:pt>
                <c:pt idx="6">
                  <c:v>2010</c:v>
                </c:pt>
                <c:pt idx="8">
                  <c:v>2012</c:v>
                </c:pt>
                <c:pt idx="10">
                  <c:v>2014</c:v>
                </c:pt>
                <c:pt idx="12">
                  <c:v>2016</c:v>
                </c:pt>
                <c:pt idx="14">
                  <c:v>2018</c:v>
                </c:pt>
                <c:pt idx="16">
                  <c:v>2020</c:v>
                </c:pt>
                <c:pt idx="18">
                  <c:v>2022</c:v>
                </c:pt>
                <c:pt idx="20">
                  <c:v>2024</c:v>
                </c:pt>
              </c:numCache>
            </c:numRef>
          </c:cat>
          <c:val>
            <c:numRef>
              <c:f>'Optimism Score Historic Chart'!$B$2:$V$2</c:f>
              <c:numCache>
                <c:formatCode>0.00</c:formatCode>
                <c:ptCount val="21"/>
                <c:pt idx="0">
                  <c:v>4.87</c:v>
                </c:pt>
                <c:pt idx="1">
                  <c:v>4.8099999999999996</c:v>
                </c:pt>
                <c:pt idx="2">
                  <c:v>4.7300000000000004</c:v>
                </c:pt>
                <c:pt idx="3">
                  <c:v>4.6399999999999997</c:v>
                </c:pt>
                <c:pt idx="4">
                  <c:v>4.7</c:v>
                </c:pt>
                <c:pt idx="5">
                  <c:v>4.63</c:v>
                </c:pt>
                <c:pt idx="6">
                  <c:v>4.6100000000000003</c:v>
                </c:pt>
                <c:pt idx="7">
                  <c:v>4.6500000000000004</c:v>
                </c:pt>
                <c:pt idx="8">
                  <c:v>4.63</c:v>
                </c:pt>
                <c:pt idx="9">
                  <c:v>4.51</c:v>
                </c:pt>
                <c:pt idx="10">
                  <c:v>4.5599999999999996</c:v>
                </c:pt>
                <c:pt idx="11">
                  <c:v>4.46</c:v>
                </c:pt>
                <c:pt idx="12">
                  <c:v>4.47</c:v>
                </c:pt>
                <c:pt idx="13">
                  <c:v>4.34</c:v>
                </c:pt>
                <c:pt idx="14">
                  <c:v>4.47</c:v>
                </c:pt>
                <c:pt idx="15">
                  <c:v>4.8499999999999996</c:v>
                </c:pt>
                <c:pt idx="16">
                  <c:v>4.92</c:v>
                </c:pt>
                <c:pt idx="17">
                  <c:v>5.2</c:v>
                </c:pt>
                <c:pt idx="18">
                  <c:v>4.97</c:v>
                </c:pt>
                <c:pt idx="19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7-4A5F-4A0E-AB7F-C9B4CAD95C0B}"/>
            </c:ext>
          </c:extLst>
        </c:ser>
        <c:ser>
          <c:idx val="1"/>
          <c:order val="1"/>
          <c:tx>
            <c:strRef>
              <c:f>'Optimism Score Historic Chart'!$A$3</c:f>
              <c:strCache>
                <c:ptCount val="1"/>
                <c:pt idx="0">
                  <c:v>In 5 Years</c:v>
                </c:pt>
              </c:strCache>
            </c:strRef>
          </c:tx>
          <c:spPr>
            <a:ln w="22225" cap="rnd" cmpd="sng" algn="ctr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dLbls>
            <c:dLbl>
              <c:idx val="4"/>
              <c:layout>
                <c:manualLayout>
                  <c:x val="-2.7679837651341969E-2"/>
                  <c:y val="3.517380804646921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A5F-4A0E-AB7F-C9B4CAD95C0B}"/>
                </c:ext>
              </c:extLst>
            </c:dLbl>
            <c:dLbl>
              <c:idx val="5"/>
              <c:layout>
                <c:manualLayout>
                  <c:x val="-2.0959407543815149E-2"/>
                  <c:y val="-4.25176458935973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A5F-4A0E-AB7F-C9B4CAD95C0B}"/>
                </c:ext>
              </c:extLst>
            </c:dLbl>
            <c:dLbl>
              <c:idx val="6"/>
              <c:layout>
                <c:manualLayout>
                  <c:x val="-3.2720160231987129E-2"/>
                  <c:y val="3.147421500170414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4A5F-4A0E-AB7F-C9B4CAD95C0B}"/>
                </c:ext>
              </c:extLst>
            </c:dLbl>
            <c:dLbl>
              <c:idx val="7"/>
              <c:layout>
                <c:manualLayout>
                  <c:x val="-3.3911599431128446E-2"/>
                  <c:y val="3.887340109123416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A5F-4A0E-AB7F-C9B4CAD95C0B}"/>
                </c:ext>
              </c:extLst>
            </c:dLbl>
            <c:dLbl>
              <c:idx val="8"/>
              <c:layout>
                <c:manualLayout>
                  <c:x val="-4.1253743337149006E-2"/>
                  <c:y val="3.887340109123429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4A5F-4A0E-AB7F-C9B4CAD95C0B}"/>
                </c:ext>
              </c:extLst>
            </c:dLbl>
            <c:dLbl>
              <c:idx val="9"/>
              <c:layout>
                <c:manualLayout>
                  <c:x val="-2.8404991501613026E-2"/>
                  <c:y val="3.147421500170414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4A5F-4A0E-AB7F-C9B4CAD95C0B}"/>
                </c:ext>
              </c:extLst>
            </c:dLbl>
            <c:dLbl>
              <c:idx val="10"/>
              <c:layout>
                <c:manualLayout>
                  <c:x val="-2.7679837651342031E-2"/>
                  <c:y val="4.09373188009983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4A5F-4A0E-AB7F-C9B4CAD95C0B}"/>
                </c:ext>
              </c:extLst>
            </c:dLbl>
            <c:dLbl>
              <c:idx val="11"/>
              <c:layout>
                <c:manualLayout>
                  <c:x val="-2.2898383572097541E-2"/>
                  <c:y val="3.887340109123429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4A5F-4A0E-AB7F-C9B4CAD95C0B}"/>
                </c:ext>
              </c:extLst>
            </c:dLbl>
            <c:dLbl>
              <c:idx val="12"/>
              <c:layout>
                <c:manualLayout>
                  <c:x val="-2.7679837651341969E-2"/>
                  <c:y val="2.670750734600010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4A5F-4A0E-AB7F-C9B4CAD95C0B}"/>
                </c:ext>
              </c:extLst>
            </c:dLbl>
            <c:dLbl>
              <c:idx val="14"/>
              <c:layout>
                <c:manualLayout>
                  <c:x val="-8.2140957600564252E-3"/>
                  <c:y val="3.517380804646921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4A5F-4A0E-AB7F-C9B4CAD95C0B}"/>
                </c:ext>
              </c:extLst>
            </c:dLbl>
            <c:dLbl>
              <c:idx val="15"/>
              <c:layout>
                <c:manualLayout>
                  <c:x val="-8.2140957600564252E-3"/>
                  <c:y val="3.517380804646921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4A5F-4A0E-AB7F-C9B4CAD95C0B}"/>
                </c:ext>
              </c:extLst>
            </c:dLbl>
            <c:dLbl>
              <c:idx val="16"/>
              <c:layout>
                <c:manualLayout>
                  <c:x val="-1.3720703689571843E-2"/>
                  <c:y val="3.147421500170414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4A5F-4A0E-AB7F-C9B4CAD95C0B}"/>
                </c:ext>
              </c:extLst>
            </c:dLbl>
            <c:dLbl>
              <c:idx val="17"/>
              <c:layout>
                <c:manualLayout>
                  <c:x val="-3.069146346626039E-2"/>
                  <c:y val="6.261117040199216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4A5F-4A0E-AB7F-C9B4CAD95C0B}"/>
                </c:ext>
              </c:extLst>
            </c:dLbl>
            <c:dLbl>
              <c:idx val="18"/>
              <c:layout>
                <c:manualLayout>
                  <c:x val="-1.8713361545665823E-2"/>
                  <c:y val="4.257299413599936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4A5F-4A0E-AB7F-C9B4CAD95C0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'Optimism Score Historic Chart'!$B$1:$V$1</c:f>
              <c:numCache>
                <c:formatCode>General</c:formatCode>
                <c:ptCount val="21"/>
                <c:pt idx="0">
                  <c:v>2004</c:v>
                </c:pt>
                <c:pt idx="2">
                  <c:v>2006</c:v>
                </c:pt>
                <c:pt idx="4">
                  <c:v>2008</c:v>
                </c:pt>
                <c:pt idx="6">
                  <c:v>2010</c:v>
                </c:pt>
                <c:pt idx="8">
                  <c:v>2012</c:v>
                </c:pt>
                <c:pt idx="10">
                  <c:v>2014</c:v>
                </c:pt>
                <c:pt idx="12">
                  <c:v>2016</c:v>
                </c:pt>
                <c:pt idx="14">
                  <c:v>2018</c:v>
                </c:pt>
                <c:pt idx="16">
                  <c:v>2020</c:v>
                </c:pt>
                <c:pt idx="18">
                  <c:v>2022</c:v>
                </c:pt>
                <c:pt idx="20">
                  <c:v>2024</c:v>
                </c:pt>
              </c:numCache>
            </c:numRef>
          </c:cat>
          <c:val>
            <c:numRef>
              <c:f>'Optimism Score Historic Chart'!$B$3:$V$3</c:f>
              <c:numCache>
                <c:formatCode>0.00</c:formatCode>
                <c:ptCount val="21"/>
                <c:pt idx="0">
                  <c:v>5</c:v>
                </c:pt>
                <c:pt idx="1">
                  <c:v>4.9000000000000004</c:v>
                </c:pt>
                <c:pt idx="2">
                  <c:v>4.8600000000000003</c:v>
                </c:pt>
                <c:pt idx="3">
                  <c:v>4.79</c:v>
                </c:pt>
                <c:pt idx="4">
                  <c:v>4.58</c:v>
                </c:pt>
                <c:pt idx="5">
                  <c:v>4.6399999999999997</c:v>
                </c:pt>
                <c:pt idx="6">
                  <c:v>4.57</c:v>
                </c:pt>
                <c:pt idx="7">
                  <c:v>4.51</c:v>
                </c:pt>
                <c:pt idx="8">
                  <c:v>4.54</c:v>
                </c:pt>
                <c:pt idx="9">
                  <c:v>4.3600000000000003</c:v>
                </c:pt>
                <c:pt idx="10">
                  <c:v>4.47</c:v>
                </c:pt>
                <c:pt idx="11">
                  <c:v>4.3499999999999996</c:v>
                </c:pt>
                <c:pt idx="12">
                  <c:v>4.3899999999999997</c:v>
                </c:pt>
                <c:pt idx="13">
                  <c:v>4.34</c:v>
                </c:pt>
                <c:pt idx="14">
                  <c:v>4.43</c:v>
                </c:pt>
                <c:pt idx="15">
                  <c:v>4.6900000000000004</c:v>
                </c:pt>
                <c:pt idx="16">
                  <c:v>4.74</c:v>
                </c:pt>
                <c:pt idx="17">
                  <c:v>5.01</c:v>
                </c:pt>
                <c:pt idx="18">
                  <c:v>4.7300000000000004</c:v>
                </c:pt>
                <c:pt idx="19">
                  <c:v>4.7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16-4A5F-4A0E-AB7F-C9B4CAD95C0B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dropLines>
          <c:spPr>
            <a:ln w="9525" cap="flat" cmpd="sng" algn="ctr">
              <a:solidFill>
                <a:schemeClr val="dk1">
                  <a:lumMod val="35000"/>
                  <a:lumOff val="65000"/>
                  <a:alpha val="33000"/>
                </a:schemeClr>
              </a:solidFill>
              <a:round/>
            </a:ln>
            <a:effectLst/>
          </c:spPr>
        </c:dropLines>
        <c:smooth val="0"/>
        <c:axId val="428068511"/>
        <c:axId val="428051039"/>
      </c:lineChart>
      <c:catAx>
        <c:axId val="4280685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spc="2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8051039"/>
        <c:crosses val="autoZero"/>
        <c:auto val="1"/>
        <c:lblAlgn val="ctr"/>
        <c:lblOffset val="100"/>
        <c:noMultiLvlLbl val="0"/>
      </c:catAx>
      <c:valAx>
        <c:axId val="428051039"/>
        <c:scaling>
          <c:orientation val="minMax"/>
          <c:min val="4"/>
        </c:scaling>
        <c:delete val="0"/>
        <c:axPos val="l"/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spc="20" baseline="0">
                <a:solidFill>
                  <a:schemeClr val="dk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8068511"/>
        <c:crosses val="autoZero"/>
        <c:crossBetween val="between"/>
      </c:valAx>
      <c:spPr>
        <a:gradFill>
          <a:gsLst>
            <a:gs pos="100000">
              <a:schemeClr val="lt1">
                <a:lumMod val="95000"/>
              </a:schemeClr>
            </a:gs>
            <a:gs pos="0">
              <a:schemeClr val="lt1"/>
            </a:gs>
          </a:gsLst>
          <a:lin ang="5400000" scaled="0"/>
        </a:gradFill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dk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lt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0">
  <cs:axisTitle>
    <cs:lnRef idx="0"/>
    <cs:fillRef idx="0"/>
    <cs:effectRef idx="0"/>
    <cs:fontRef idx="minor">
      <a:schemeClr val="dk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b="0" kern="1200" spc="20" baseline="0"/>
  </cs:categoryAxis>
  <cs:chartArea mods="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 cmpd="sng" algn="ctr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</cs:dataPointMarker>
  <cs:dataPointMarkerLayout symbol="circle" size="4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>
        <a:solidFill>
          <a:schemeClr val="dk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  <a:alpha val="33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dk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dk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dk1"/>
    </cs:fontRef>
    <cs:spPr>
      <a:gradFill>
        <a:gsLst>
          <a:gs pos="100000">
            <a:schemeClr val="lt1">
              <a:lumMod val="95000"/>
            </a:schemeClr>
          </a:gs>
          <a:gs pos="0">
            <a:schemeClr val="lt1"/>
          </a:gs>
        </a:gsLst>
        <a:lin ang="5400000" scaled="0"/>
      </a:gradFill>
    </cs:spPr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dk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 kern="1200" spc="20" baseline="0"/>
  </cs:valueAxis>
  <cs:wall>
    <cs:lnRef idx="0"/>
    <cs:fillRef idx="0"/>
    <cs:effectRef idx="0"/>
    <cs:fontRef idx="minor">
      <a:schemeClr val="dk1"/>
    </cs:fontRef>
  </cs:wall>
</cs:chartStyle>
</file>

<file path=ppt/diagrams/_rels/data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image" Target="../media/image38.svg"/><Relationship Id="rId1" Type="http://schemas.openxmlformats.org/officeDocument/2006/relationships/image" Target="../media/image37.png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10" Type="http://schemas.openxmlformats.org/officeDocument/2006/relationships/image" Target="../media/image46.svg"/><Relationship Id="rId4" Type="http://schemas.openxmlformats.org/officeDocument/2006/relationships/image" Target="../media/image40.svg"/><Relationship Id="rId9" Type="http://schemas.openxmlformats.org/officeDocument/2006/relationships/image" Target="../media/image45.png"/></Relationships>
</file>

<file path=ppt/diagrams/_rels/drawing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sv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image" Target="../media/image38.svg"/><Relationship Id="rId1" Type="http://schemas.openxmlformats.org/officeDocument/2006/relationships/image" Target="../media/image37.png"/><Relationship Id="rId6" Type="http://schemas.openxmlformats.org/officeDocument/2006/relationships/image" Target="../media/image42.svg"/><Relationship Id="rId5" Type="http://schemas.openxmlformats.org/officeDocument/2006/relationships/image" Target="../media/image41.png"/><Relationship Id="rId10" Type="http://schemas.openxmlformats.org/officeDocument/2006/relationships/image" Target="../media/image46.svg"/><Relationship Id="rId4" Type="http://schemas.openxmlformats.org/officeDocument/2006/relationships/image" Target="../media/image40.svg"/><Relationship Id="rId9" Type="http://schemas.openxmlformats.org/officeDocument/2006/relationships/image" Target="../media/image45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6237EA8-CE29-4B9C-938C-F75509552DEF}" type="doc">
      <dgm:prSet loTypeId="urn:microsoft.com/office/officeart/2005/8/layout/chevron1" loCatId="process" qsTypeId="urn:microsoft.com/office/officeart/2005/8/quickstyle/simple1" qsCatId="simple" csTypeId="urn:microsoft.com/office/officeart/2005/8/colors/accent1_4" csCatId="accent1" phldr="1"/>
      <dgm:spPr/>
      <dgm:t>
        <a:bodyPr/>
        <a:lstStyle/>
        <a:p>
          <a:endParaRPr lang="en-US"/>
        </a:p>
      </dgm:t>
    </dgm:pt>
    <dgm:pt modelId="{A14B106A-1438-4BD2-8115-D77F8C8E55AF}">
      <dgm:prSet custT="1"/>
      <dgm:spPr/>
      <dgm:t>
        <a:bodyPr/>
        <a:lstStyle/>
        <a:p>
          <a:r>
            <a:rPr lang="en-US" sz="1400" b="0" dirty="0"/>
            <a:t>Earth Day Created</a:t>
          </a:r>
        </a:p>
      </dgm:t>
    </dgm:pt>
    <dgm:pt modelId="{0E413108-206F-4836-8A99-65BD87AF4A33}" type="parTrans" cxnId="{C3DEBE41-73B6-46A5-B728-0446EEBDA9E4}">
      <dgm:prSet/>
      <dgm:spPr/>
      <dgm:t>
        <a:bodyPr/>
        <a:lstStyle/>
        <a:p>
          <a:endParaRPr lang="en-US" sz="3200" b="0"/>
        </a:p>
      </dgm:t>
    </dgm:pt>
    <dgm:pt modelId="{E50707C7-BA6E-422F-97AB-CFE7F8408FD6}" type="sibTrans" cxnId="{C3DEBE41-73B6-46A5-B728-0446EEBDA9E4}">
      <dgm:prSet/>
      <dgm:spPr/>
      <dgm:t>
        <a:bodyPr/>
        <a:lstStyle/>
        <a:p>
          <a:endParaRPr lang="en-US" sz="3200" b="0"/>
        </a:p>
      </dgm:t>
    </dgm:pt>
    <dgm:pt modelId="{D23E5B82-8F44-46EE-970B-C156F1E6D17E}">
      <dgm:prSet custT="1"/>
      <dgm:spPr/>
      <dgm:t>
        <a:bodyPr/>
        <a:lstStyle/>
        <a:p>
          <a:r>
            <a:rPr lang="en-US" sz="1400" b="0" dirty="0"/>
            <a:t>US EPA created</a:t>
          </a:r>
        </a:p>
      </dgm:t>
    </dgm:pt>
    <dgm:pt modelId="{0C537CE8-DA57-4E14-B386-7902D15BF215}" type="parTrans" cxnId="{8B41AE18-9859-48A6-A311-8601EE6E3D29}">
      <dgm:prSet/>
      <dgm:spPr/>
      <dgm:t>
        <a:bodyPr/>
        <a:lstStyle/>
        <a:p>
          <a:endParaRPr lang="en-US" sz="3200" b="0"/>
        </a:p>
      </dgm:t>
    </dgm:pt>
    <dgm:pt modelId="{0309DFF8-CC73-4958-8FF0-2B65AB597AC0}" type="sibTrans" cxnId="{8B41AE18-9859-48A6-A311-8601EE6E3D29}">
      <dgm:prSet/>
      <dgm:spPr/>
      <dgm:t>
        <a:bodyPr/>
        <a:lstStyle/>
        <a:p>
          <a:endParaRPr lang="en-US" sz="3200" b="0"/>
        </a:p>
      </dgm:t>
    </dgm:pt>
    <dgm:pt modelId="{35B03417-BD37-40F0-88D8-52C0C2725CE1}">
      <dgm:prSet custT="1"/>
      <dgm:spPr/>
      <dgm:t>
        <a:bodyPr/>
        <a:lstStyle/>
        <a:p>
          <a:r>
            <a:rPr lang="en-US" sz="1400" b="0" dirty="0"/>
            <a:t>Clean Water Act Passed</a:t>
          </a:r>
        </a:p>
      </dgm:t>
    </dgm:pt>
    <dgm:pt modelId="{15665DB2-FFEB-45D2-93F3-FE1380AA857D}" type="parTrans" cxnId="{421407AF-81F5-40D2-B8A9-4A689C56FFD6}">
      <dgm:prSet/>
      <dgm:spPr/>
      <dgm:t>
        <a:bodyPr/>
        <a:lstStyle/>
        <a:p>
          <a:endParaRPr lang="en-US" sz="3200" b="0"/>
        </a:p>
      </dgm:t>
    </dgm:pt>
    <dgm:pt modelId="{1640EFCC-446B-4BA0-890E-A8A7A903DAEF}" type="sibTrans" cxnId="{421407AF-81F5-40D2-B8A9-4A689C56FFD6}">
      <dgm:prSet/>
      <dgm:spPr/>
      <dgm:t>
        <a:bodyPr/>
        <a:lstStyle/>
        <a:p>
          <a:endParaRPr lang="en-US" sz="3200" b="0"/>
        </a:p>
      </dgm:t>
    </dgm:pt>
    <dgm:pt modelId="{6AF67828-6846-4B07-943A-69D102D966B2}">
      <dgm:prSet custT="1"/>
      <dgm:spPr/>
      <dgm:t>
        <a:bodyPr/>
        <a:lstStyle/>
        <a:p>
          <a:r>
            <a:rPr lang="en-US" sz="1400" b="0" dirty="0"/>
            <a:t>Safe Drinking Water Act Passed</a:t>
          </a:r>
        </a:p>
      </dgm:t>
    </dgm:pt>
    <dgm:pt modelId="{AED94749-7D03-4099-A1D4-AD1C3824F289}" type="parTrans" cxnId="{1DDC78EA-A9B6-4C75-9522-F8C65C777E50}">
      <dgm:prSet/>
      <dgm:spPr/>
      <dgm:t>
        <a:bodyPr/>
        <a:lstStyle/>
        <a:p>
          <a:endParaRPr lang="en-US" sz="3200" b="0"/>
        </a:p>
      </dgm:t>
    </dgm:pt>
    <dgm:pt modelId="{B158AA50-C241-4FB0-AA3D-BD20D6673082}" type="sibTrans" cxnId="{1DDC78EA-A9B6-4C75-9522-F8C65C777E50}">
      <dgm:prSet/>
      <dgm:spPr/>
      <dgm:t>
        <a:bodyPr/>
        <a:lstStyle/>
        <a:p>
          <a:endParaRPr lang="en-US" sz="3200" b="0"/>
        </a:p>
      </dgm:t>
    </dgm:pt>
    <dgm:pt modelId="{4D2C56D0-7D62-46D2-8D72-09E3B8A6DB4B}">
      <dgm:prSet custT="1"/>
      <dgm:spPr/>
      <dgm:t>
        <a:bodyPr/>
        <a:lstStyle/>
        <a:p>
          <a:r>
            <a:rPr lang="en-US" sz="1400" dirty="0"/>
            <a:t>Cuyahoga River Fire</a:t>
          </a:r>
        </a:p>
      </dgm:t>
    </dgm:pt>
    <dgm:pt modelId="{62EC9F05-AB3F-44F0-BA9C-B353355C947B}" type="parTrans" cxnId="{8A797BAF-EDBF-47CA-9ED0-6D114AB350FF}">
      <dgm:prSet/>
      <dgm:spPr/>
      <dgm:t>
        <a:bodyPr/>
        <a:lstStyle/>
        <a:p>
          <a:endParaRPr lang="en-US"/>
        </a:p>
      </dgm:t>
    </dgm:pt>
    <dgm:pt modelId="{5C9CC2D1-262C-430C-86BF-5F46546F2ADE}" type="sibTrans" cxnId="{8A797BAF-EDBF-47CA-9ED0-6D114AB350FF}">
      <dgm:prSet/>
      <dgm:spPr/>
      <dgm:t>
        <a:bodyPr/>
        <a:lstStyle/>
        <a:p>
          <a:endParaRPr lang="en-US"/>
        </a:p>
      </dgm:t>
    </dgm:pt>
    <dgm:pt modelId="{8DD022D7-22E5-42F7-BCD4-E2983ABC983A}" type="pres">
      <dgm:prSet presAssocID="{C6237EA8-CE29-4B9C-938C-F75509552DEF}" presName="Name0" presStyleCnt="0">
        <dgm:presLayoutVars>
          <dgm:dir/>
          <dgm:animLvl val="lvl"/>
          <dgm:resizeHandles val="exact"/>
        </dgm:presLayoutVars>
      </dgm:prSet>
      <dgm:spPr/>
    </dgm:pt>
    <dgm:pt modelId="{BF519711-A7FB-4970-A30E-8CA944190490}" type="pres">
      <dgm:prSet presAssocID="{4D2C56D0-7D62-46D2-8D72-09E3B8A6DB4B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DD1023F1-607F-47EF-8DC4-018F16DD2595}" type="pres">
      <dgm:prSet presAssocID="{5C9CC2D1-262C-430C-86BF-5F46546F2ADE}" presName="parTxOnlySpace" presStyleCnt="0"/>
      <dgm:spPr/>
    </dgm:pt>
    <dgm:pt modelId="{5E527CE5-7862-4843-B916-5C72F5EF1180}" type="pres">
      <dgm:prSet presAssocID="{A14B106A-1438-4BD2-8115-D77F8C8E55AF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B055361E-3215-4B83-9987-0ABE36E4CA6D}" type="pres">
      <dgm:prSet presAssocID="{E50707C7-BA6E-422F-97AB-CFE7F8408FD6}" presName="parTxOnlySpace" presStyleCnt="0"/>
      <dgm:spPr/>
    </dgm:pt>
    <dgm:pt modelId="{56CA4961-A6E2-4A77-9CF9-FFBC89517DE5}" type="pres">
      <dgm:prSet presAssocID="{D23E5B82-8F44-46EE-970B-C156F1E6D17E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4592C904-AF70-4347-954E-28065ED3EBDC}" type="pres">
      <dgm:prSet presAssocID="{0309DFF8-CC73-4958-8FF0-2B65AB597AC0}" presName="parTxOnlySpace" presStyleCnt="0"/>
      <dgm:spPr/>
    </dgm:pt>
    <dgm:pt modelId="{EEF58DBD-F760-4964-ADFF-1C23E6F39CA7}" type="pres">
      <dgm:prSet presAssocID="{35B03417-BD37-40F0-88D8-52C0C2725CE1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E454969B-0D2D-4C62-9C3C-C09FD0392B55}" type="pres">
      <dgm:prSet presAssocID="{1640EFCC-446B-4BA0-890E-A8A7A903DAEF}" presName="parTxOnlySpace" presStyleCnt="0"/>
      <dgm:spPr/>
    </dgm:pt>
    <dgm:pt modelId="{E78014F6-09C4-4F2B-A7EE-6A2E65199149}" type="pres">
      <dgm:prSet presAssocID="{6AF67828-6846-4B07-943A-69D102D966B2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8B41AE18-9859-48A6-A311-8601EE6E3D29}" srcId="{C6237EA8-CE29-4B9C-938C-F75509552DEF}" destId="{D23E5B82-8F44-46EE-970B-C156F1E6D17E}" srcOrd="2" destOrd="0" parTransId="{0C537CE8-DA57-4E14-B386-7902D15BF215}" sibTransId="{0309DFF8-CC73-4958-8FF0-2B65AB597AC0}"/>
    <dgm:cxn modelId="{6AB2C529-C0AD-40E4-96E0-6E0EC921C903}" type="presOf" srcId="{D23E5B82-8F44-46EE-970B-C156F1E6D17E}" destId="{56CA4961-A6E2-4A77-9CF9-FFBC89517DE5}" srcOrd="0" destOrd="0" presId="urn:microsoft.com/office/officeart/2005/8/layout/chevron1"/>
    <dgm:cxn modelId="{20CA273C-3C06-49E1-B37A-ED31E2B00905}" type="presOf" srcId="{35B03417-BD37-40F0-88D8-52C0C2725CE1}" destId="{EEF58DBD-F760-4964-ADFF-1C23E6F39CA7}" srcOrd="0" destOrd="0" presId="urn:microsoft.com/office/officeart/2005/8/layout/chevron1"/>
    <dgm:cxn modelId="{C3DEBE41-73B6-46A5-B728-0446EEBDA9E4}" srcId="{C6237EA8-CE29-4B9C-938C-F75509552DEF}" destId="{A14B106A-1438-4BD2-8115-D77F8C8E55AF}" srcOrd="1" destOrd="0" parTransId="{0E413108-206F-4836-8A99-65BD87AF4A33}" sibTransId="{E50707C7-BA6E-422F-97AB-CFE7F8408FD6}"/>
    <dgm:cxn modelId="{C2819D71-0E04-4826-B1E4-C775542F9852}" type="presOf" srcId="{A14B106A-1438-4BD2-8115-D77F8C8E55AF}" destId="{5E527CE5-7862-4843-B916-5C72F5EF1180}" srcOrd="0" destOrd="0" presId="urn:microsoft.com/office/officeart/2005/8/layout/chevron1"/>
    <dgm:cxn modelId="{2ED62086-3260-4FBF-8B17-DDABD04A8527}" type="presOf" srcId="{4D2C56D0-7D62-46D2-8D72-09E3B8A6DB4B}" destId="{BF519711-A7FB-4970-A30E-8CA944190490}" srcOrd="0" destOrd="0" presId="urn:microsoft.com/office/officeart/2005/8/layout/chevron1"/>
    <dgm:cxn modelId="{896E269B-9F14-4306-9F2E-FD918BCD3C02}" type="presOf" srcId="{C6237EA8-CE29-4B9C-938C-F75509552DEF}" destId="{8DD022D7-22E5-42F7-BCD4-E2983ABC983A}" srcOrd="0" destOrd="0" presId="urn:microsoft.com/office/officeart/2005/8/layout/chevron1"/>
    <dgm:cxn modelId="{421407AF-81F5-40D2-B8A9-4A689C56FFD6}" srcId="{C6237EA8-CE29-4B9C-938C-F75509552DEF}" destId="{35B03417-BD37-40F0-88D8-52C0C2725CE1}" srcOrd="3" destOrd="0" parTransId="{15665DB2-FFEB-45D2-93F3-FE1380AA857D}" sibTransId="{1640EFCC-446B-4BA0-890E-A8A7A903DAEF}"/>
    <dgm:cxn modelId="{8A797BAF-EDBF-47CA-9ED0-6D114AB350FF}" srcId="{C6237EA8-CE29-4B9C-938C-F75509552DEF}" destId="{4D2C56D0-7D62-46D2-8D72-09E3B8A6DB4B}" srcOrd="0" destOrd="0" parTransId="{62EC9F05-AB3F-44F0-BA9C-B353355C947B}" sibTransId="{5C9CC2D1-262C-430C-86BF-5F46546F2ADE}"/>
    <dgm:cxn modelId="{1DDC78EA-A9B6-4C75-9522-F8C65C777E50}" srcId="{C6237EA8-CE29-4B9C-938C-F75509552DEF}" destId="{6AF67828-6846-4B07-943A-69D102D966B2}" srcOrd="4" destOrd="0" parTransId="{AED94749-7D03-4099-A1D4-AD1C3824F289}" sibTransId="{B158AA50-C241-4FB0-AA3D-BD20D6673082}"/>
    <dgm:cxn modelId="{0A8126FA-4E7C-45B1-815E-24DB8A45F5FB}" type="presOf" srcId="{6AF67828-6846-4B07-943A-69D102D966B2}" destId="{E78014F6-09C4-4F2B-A7EE-6A2E65199149}" srcOrd="0" destOrd="0" presId="urn:microsoft.com/office/officeart/2005/8/layout/chevron1"/>
    <dgm:cxn modelId="{D12EBC7E-7228-46BB-AA13-E40D7B032022}" type="presParOf" srcId="{8DD022D7-22E5-42F7-BCD4-E2983ABC983A}" destId="{BF519711-A7FB-4970-A30E-8CA944190490}" srcOrd="0" destOrd="0" presId="urn:microsoft.com/office/officeart/2005/8/layout/chevron1"/>
    <dgm:cxn modelId="{F82609E1-F222-45A4-85C1-A4236FCE8532}" type="presParOf" srcId="{8DD022D7-22E5-42F7-BCD4-E2983ABC983A}" destId="{DD1023F1-607F-47EF-8DC4-018F16DD2595}" srcOrd="1" destOrd="0" presId="urn:microsoft.com/office/officeart/2005/8/layout/chevron1"/>
    <dgm:cxn modelId="{1519633A-F621-4AF4-840C-C34FB41E1BDB}" type="presParOf" srcId="{8DD022D7-22E5-42F7-BCD4-E2983ABC983A}" destId="{5E527CE5-7862-4843-B916-5C72F5EF1180}" srcOrd="2" destOrd="0" presId="urn:microsoft.com/office/officeart/2005/8/layout/chevron1"/>
    <dgm:cxn modelId="{643AF956-C57B-4ABE-8511-E62CC2B83366}" type="presParOf" srcId="{8DD022D7-22E5-42F7-BCD4-E2983ABC983A}" destId="{B055361E-3215-4B83-9987-0ABE36E4CA6D}" srcOrd="3" destOrd="0" presId="urn:microsoft.com/office/officeart/2005/8/layout/chevron1"/>
    <dgm:cxn modelId="{97F145F6-FFA9-48A6-AF50-CB96BD441E91}" type="presParOf" srcId="{8DD022D7-22E5-42F7-BCD4-E2983ABC983A}" destId="{56CA4961-A6E2-4A77-9CF9-FFBC89517DE5}" srcOrd="4" destOrd="0" presId="urn:microsoft.com/office/officeart/2005/8/layout/chevron1"/>
    <dgm:cxn modelId="{785ABE87-1A51-486D-AD49-2F57CB7B7584}" type="presParOf" srcId="{8DD022D7-22E5-42F7-BCD4-E2983ABC983A}" destId="{4592C904-AF70-4347-954E-28065ED3EBDC}" srcOrd="5" destOrd="0" presId="urn:microsoft.com/office/officeart/2005/8/layout/chevron1"/>
    <dgm:cxn modelId="{4AAB3F61-82DB-41E1-A0FD-842360E42E6A}" type="presParOf" srcId="{8DD022D7-22E5-42F7-BCD4-E2983ABC983A}" destId="{EEF58DBD-F760-4964-ADFF-1C23E6F39CA7}" srcOrd="6" destOrd="0" presId="urn:microsoft.com/office/officeart/2005/8/layout/chevron1"/>
    <dgm:cxn modelId="{56AEF037-7DC0-4B0C-8176-D8E5D6650366}" type="presParOf" srcId="{8DD022D7-22E5-42F7-BCD4-E2983ABC983A}" destId="{E454969B-0D2D-4C62-9C3C-C09FD0392B55}" srcOrd="7" destOrd="0" presId="urn:microsoft.com/office/officeart/2005/8/layout/chevron1"/>
    <dgm:cxn modelId="{4A857D5D-3FC7-47D7-A827-939786473B1E}" type="presParOf" srcId="{8DD022D7-22E5-42F7-BCD4-E2983ABC983A}" destId="{E78014F6-09C4-4F2B-A7EE-6A2E65199149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8D66A5D-248A-4D26-8AEC-7403AA962A43}" type="doc">
      <dgm:prSet loTypeId="urn:microsoft.com/office/officeart/2011/layout/CircleProcess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C412151-7F75-4AB1-AD36-D8123D2C147E}">
      <dgm:prSet phldrT="[Text]"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Insights to key water issues</a:t>
          </a:r>
        </a:p>
      </dgm:t>
    </dgm:pt>
    <dgm:pt modelId="{BFB89D03-0C02-4FA6-AFB5-1405E5EECAF9}" type="parTrans" cxnId="{7CFD5E19-5A96-467C-A4F0-21D6CBF0DEB7}">
      <dgm:prSet/>
      <dgm:spPr/>
      <dgm:t>
        <a:bodyPr/>
        <a:lstStyle/>
        <a:p>
          <a:endParaRPr lang="en-US"/>
        </a:p>
      </dgm:t>
    </dgm:pt>
    <dgm:pt modelId="{5CD13971-F555-436D-B68C-2E1E41F2F074}" type="sibTrans" cxnId="{7CFD5E19-5A96-467C-A4F0-21D6CBF0DEB7}">
      <dgm:prSet/>
      <dgm:spPr/>
      <dgm:t>
        <a:bodyPr/>
        <a:lstStyle/>
        <a:p>
          <a:endParaRPr lang="en-US"/>
        </a:p>
      </dgm:t>
    </dgm:pt>
    <dgm:pt modelId="{B2377311-3F9F-4E08-997E-E97DA2B79D4F}">
      <dgm:prSet phldrT="[Text]"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Identify and track water trends</a:t>
          </a:r>
        </a:p>
      </dgm:t>
    </dgm:pt>
    <dgm:pt modelId="{EC20EE1D-1A98-4269-847F-91A2EA19A616}" type="parTrans" cxnId="{1E022C68-0CAC-4635-913B-F6694A1E6A2A}">
      <dgm:prSet/>
      <dgm:spPr/>
      <dgm:t>
        <a:bodyPr/>
        <a:lstStyle/>
        <a:p>
          <a:endParaRPr lang="en-US"/>
        </a:p>
      </dgm:t>
    </dgm:pt>
    <dgm:pt modelId="{B79C178B-48A4-4AB5-8CFF-30685FFAFE31}" type="sibTrans" cxnId="{1E022C68-0CAC-4635-913B-F6694A1E6A2A}">
      <dgm:prSet/>
      <dgm:spPr/>
      <dgm:t>
        <a:bodyPr/>
        <a:lstStyle/>
        <a:p>
          <a:endParaRPr lang="en-US"/>
        </a:p>
      </dgm:t>
    </dgm:pt>
    <dgm:pt modelId="{2572BC6D-E190-4126-B2E7-A5B95C999A9A}">
      <dgm:prSet phldrT="[Text]"/>
      <dgm:spPr/>
      <dgm:t>
        <a:bodyPr/>
        <a:lstStyle/>
        <a:p>
          <a:r>
            <a:rPr lang="en-US" dirty="0">
              <a:solidFill>
                <a:schemeClr val="tx1"/>
              </a:solidFill>
            </a:rPr>
            <a:t>Raise awareness of emerging issues </a:t>
          </a:r>
        </a:p>
      </dgm:t>
    </dgm:pt>
    <dgm:pt modelId="{59D65B09-FD68-4AD9-9704-F989F307D647}" type="parTrans" cxnId="{F5A31905-B170-4759-A01B-0280F4D76B29}">
      <dgm:prSet/>
      <dgm:spPr/>
      <dgm:t>
        <a:bodyPr/>
        <a:lstStyle/>
        <a:p>
          <a:endParaRPr lang="en-US"/>
        </a:p>
      </dgm:t>
    </dgm:pt>
    <dgm:pt modelId="{D8E1CA80-84C4-4930-8E21-B4196F5489E3}" type="sibTrans" cxnId="{F5A31905-B170-4759-A01B-0280F4D76B29}">
      <dgm:prSet/>
      <dgm:spPr/>
      <dgm:t>
        <a:bodyPr/>
        <a:lstStyle/>
        <a:p>
          <a:endParaRPr lang="en-US"/>
        </a:p>
      </dgm:t>
    </dgm:pt>
    <dgm:pt modelId="{873236D0-41B7-4CEC-9583-DB5C1F548AE4}" type="pres">
      <dgm:prSet presAssocID="{A8D66A5D-248A-4D26-8AEC-7403AA962A43}" presName="Name0" presStyleCnt="0">
        <dgm:presLayoutVars>
          <dgm:chMax val="11"/>
          <dgm:chPref val="11"/>
          <dgm:dir/>
          <dgm:resizeHandles/>
        </dgm:presLayoutVars>
      </dgm:prSet>
      <dgm:spPr/>
    </dgm:pt>
    <dgm:pt modelId="{B1059799-971A-4D0F-9CD4-CC6B4B80E308}" type="pres">
      <dgm:prSet presAssocID="{2572BC6D-E190-4126-B2E7-A5B95C999A9A}" presName="Accent3" presStyleCnt="0"/>
      <dgm:spPr/>
    </dgm:pt>
    <dgm:pt modelId="{38A06469-E51E-4F5D-B05A-ADB9BD966FAC}" type="pres">
      <dgm:prSet presAssocID="{2572BC6D-E190-4126-B2E7-A5B95C999A9A}" presName="Accent" presStyleLbl="node1" presStyleIdx="0" presStyleCnt="3" custScaleX="17701" custScaleY="61296"/>
      <dgm:spPr/>
    </dgm:pt>
    <dgm:pt modelId="{408AEB2B-CA87-4D28-B171-51F473B49551}" type="pres">
      <dgm:prSet presAssocID="{2572BC6D-E190-4126-B2E7-A5B95C999A9A}" presName="ParentBackground3" presStyleCnt="0"/>
      <dgm:spPr/>
    </dgm:pt>
    <dgm:pt modelId="{FBEA8862-AC02-4DEA-B951-E3158E68168E}" type="pres">
      <dgm:prSet presAssocID="{2572BC6D-E190-4126-B2E7-A5B95C999A9A}" presName="ParentBackground" presStyleLbl="fgAcc1" presStyleIdx="0" presStyleCnt="3" custScaleX="149250" custScaleY="153832" custLinFactNeighborX="29799" custLinFactNeighborY="11725"/>
      <dgm:spPr/>
    </dgm:pt>
    <dgm:pt modelId="{82966979-FCEB-4E38-B5FC-5F284CBE445A}" type="pres">
      <dgm:prSet presAssocID="{2572BC6D-E190-4126-B2E7-A5B95C999A9A}" presName="Parent3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AA341E1C-79C0-4943-AAE1-6DF540BCE70C}" type="pres">
      <dgm:prSet presAssocID="{B2377311-3F9F-4E08-997E-E97DA2B79D4F}" presName="Accent2" presStyleCnt="0"/>
      <dgm:spPr/>
    </dgm:pt>
    <dgm:pt modelId="{63AF5807-B18C-48FF-BEA2-2171D84FEAD3}" type="pres">
      <dgm:prSet presAssocID="{B2377311-3F9F-4E08-997E-E97DA2B79D4F}" presName="Accent" presStyleLbl="node1" presStyleIdx="1" presStyleCnt="3" custFlipVert="1" custScaleX="18090" custScaleY="2851"/>
      <dgm:spPr/>
    </dgm:pt>
    <dgm:pt modelId="{66527B00-97B0-4B13-BC03-3B2B686329A2}" type="pres">
      <dgm:prSet presAssocID="{B2377311-3F9F-4E08-997E-E97DA2B79D4F}" presName="ParentBackground2" presStyleCnt="0"/>
      <dgm:spPr/>
    </dgm:pt>
    <dgm:pt modelId="{BFA316C8-4218-4524-A145-0D3E0D40613B}" type="pres">
      <dgm:prSet presAssocID="{B2377311-3F9F-4E08-997E-E97DA2B79D4F}" presName="ParentBackground" presStyleLbl="fgAcc1" presStyleIdx="1" presStyleCnt="3" custScaleX="149250" custScaleY="153832" custLinFactNeighborX="-2507" custLinFactNeighborY="11725"/>
      <dgm:spPr/>
    </dgm:pt>
    <dgm:pt modelId="{42A136D4-6657-4AAF-902C-778480C802B6}" type="pres">
      <dgm:prSet presAssocID="{B2377311-3F9F-4E08-997E-E97DA2B79D4F}" presName="Parent2" presStyleLbl="revTx" presStyleIdx="0" presStyleCnt="0">
        <dgm:presLayoutVars>
          <dgm:chMax val="1"/>
          <dgm:chPref val="1"/>
          <dgm:bulletEnabled val="1"/>
        </dgm:presLayoutVars>
      </dgm:prSet>
      <dgm:spPr/>
    </dgm:pt>
    <dgm:pt modelId="{D448D66C-B16C-4C3C-8260-D7DF1C74E5F5}" type="pres">
      <dgm:prSet presAssocID="{6C412151-7F75-4AB1-AD36-D8123D2C147E}" presName="Accent1" presStyleCnt="0"/>
      <dgm:spPr/>
    </dgm:pt>
    <dgm:pt modelId="{83120E02-7912-4E5A-A5E6-BEE3AAF920E4}" type="pres">
      <dgm:prSet presAssocID="{6C412151-7F75-4AB1-AD36-D8123D2C147E}" presName="Accent" presStyleLbl="node1" presStyleIdx="2" presStyleCnt="3" custFlipVert="1" custScaleX="22559" custScaleY="5269"/>
      <dgm:spPr/>
    </dgm:pt>
    <dgm:pt modelId="{161A09D1-DF4C-4863-8496-0B01F899907D}" type="pres">
      <dgm:prSet presAssocID="{6C412151-7F75-4AB1-AD36-D8123D2C147E}" presName="ParentBackground1" presStyleCnt="0"/>
      <dgm:spPr/>
    </dgm:pt>
    <dgm:pt modelId="{381BB2B9-2F74-43E4-A4FC-98C9B5CA70E3}" type="pres">
      <dgm:prSet presAssocID="{6C412151-7F75-4AB1-AD36-D8123D2C147E}" presName="ParentBackground" presStyleLbl="fgAcc1" presStyleIdx="2" presStyleCnt="3" custScaleX="147359" custScaleY="153832" custLinFactNeighborX="-41052" custLinFactNeighborY="16804"/>
      <dgm:spPr/>
    </dgm:pt>
    <dgm:pt modelId="{5DE033F9-FEB0-4EB8-8027-744545003D46}" type="pres">
      <dgm:prSet presAssocID="{6C412151-7F75-4AB1-AD36-D8123D2C147E}" presName="Parent1" presStyleLbl="revTx" presStyleIdx="0" presStyleCnt="0">
        <dgm:presLayoutVars>
          <dgm:chMax val="1"/>
          <dgm:chPref val="1"/>
          <dgm:bulletEnabled val="1"/>
        </dgm:presLayoutVars>
      </dgm:prSet>
      <dgm:spPr/>
    </dgm:pt>
  </dgm:ptLst>
  <dgm:cxnLst>
    <dgm:cxn modelId="{F5A31905-B170-4759-A01B-0280F4D76B29}" srcId="{A8D66A5D-248A-4D26-8AEC-7403AA962A43}" destId="{2572BC6D-E190-4126-B2E7-A5B95C999A9A}" srcOrd="2" destOrd="0" parTransId="{59D65B09-FD68-4AD9-9704-F989F307D647}" sibTransId="{D8E1CA80-84C4-4930-8E21-B4196F5489E3}"/>
    <dgm:cxn modelId="{7CFD5E19-5A96-467C-A4F0-21D6CBF0DEB7}" srcId="{A8D66A5D-248A-4D26-8AEC-7403AA962A43}" destId="{6C412151-7F75-4AB1-AD36-D8123D2C147E}" srcOrd="0" destOrd="0" parTransId="{BFB89D03-0C02-4FA6-AFB5-1405E5EECAF9}" sibTransId="{5CD13971-F555-436D-B68C-2E1E41F2F074}"/>
    <dgm:cxn modelId="{14340833-2920-4782-B7D3-624964AC09A4}" type="presOf" srcId="{2572BC6D-E190-4126-B2E7-A5B95C999A9A}" destId="{FBEA8862-AC02-4DEA-B951-E3158E68168E}" srcOrd="0" destOrd="0" presId="urn:microsoft.com/office/officeart/2011/layout/CircleProcess"/>
    <dgm:cxn modelId="{1E022C68-0CAC-4635-913B-F6694A1E6A2A}" srcId="{A8D66A5D-248A-4D26-8AEC-7403AA962A43}" destId="{B2377311-3F9F-4E08-997E-E97DA2B79D4F}" srcOrd="1" destOrd="0" parTransId="{EC20EE1D-1A98-4269-847F-91A2EA19A616}" sibTransId="{B79C178B-48A4-4AB5-8CFF-30685FFAFE31}"/>
    <dgm:cxn modelId="{87A88A4C-B723-4CC5-AA0B-8B5FF3254EED}" type="presOf" srcId="{2572BC6D-E190-4126-B2E7-A5B95C999A9A}" destId="{82966979-FCEB-4E38-B5FC-5F284CBE445A}" srcOrd="1" destOrd="0" presId="urn:microsoft.com/office/officeart/2011/layout/CircleProcess"/>
    <dgm:cxn modelId="{EBB44D6F-F52A-48A6-AE52-AAC3655A8B08}" type="presOf" srcId="{A8D66A5D-248A-4D26-8AEC-7403AA962A43}" destId="{873236D0-41B7-4CEC-9583-DB5C1F548AE4}" srcOrd="0" destOrd="0" presId="urn:microsoft.com/office/officeart/2011/layout/CircleProcess"/>
    <dgm:cxn modelId="{8E5A048D-4BCA-44FB-BC22-B275B6CEEFE7}" type="presOf" srcId="{6C412151-7F75-4AB1-AD36-D8123D2C147E}" destId="{381BB2B9-2F74-43E4-A4FC-98C9B5CA70E3}" srcOrd="0" destOrd="0" presId="urn:microsoft.com/office/officeart/2011/layout/CircleProcess"/>
    <dgm:cxn modelId="{0C33ACA6-48C7-4AC6-8A73-3D2ABD095F46}" type="presOf" srcId="{6C412151-7F75-4AB1-AD36-D8123D2C147E}" destId="{5DE033F9-FEB0-4EB8-8027-744545003D46}" srcOrd="1" destOrd="0" presId="urn:microsoft.com/office/officeart/2011/layout/CircleProcess"/>
    <dgm:cxn modelId="{40DE9CF8-CB37-4832-9FAE-4290C5752592}" type="presOf" srcId="{B2377311-3F9F-4E08-997E-E97DA2B79D4F}" destId="{42A136D4-6657-4AAF-902C-778480C802B6}" srcOrd="1" destOrd="0" presId="urn:microsoft.com/office/officeart/2011/layout/CircleProcess"/>
    <dgm:cxn modelId="{3ED627FE-5A67-474D-BD4E-6EAD651735DE}" type="presOf" srcId="{B2377311-3F9F-4E08-997E-E97DA2B79D4F}" destId="{BFA316C8-4218-4524-A145-0D3E0D40613B}" srcOrd="0" destOrd="0" presId="urn:microsoft.com/office/officeart/2011/layout/CircleProcess"/>
    <dgm:cxn modelId="{DEEB28DC-A302-4828-851E-FE66D41AF286}" type="presParOf" srcId="{873236D0-41B7-4CEC-9583-DB5C1F548AE4}" destId="{B1059799-971A-4D0F-9CD4-CC6B4B80E308}" srcOrd="0" destOrd="0" presId="urn:microsoft.com/office/officeart/2011/layout/CircleProcess"/>
    <dgm:cxn modelId="{03AA4E28-1806-4E63-B1C2-AEE24E009C18}" type="presParOf" srcId="{B1059799-971A-4D0F-9CD4-CC6B4B80E308}" destId="{38A06469-E51E-4F5D-B05A-ADB9BD966FAC}" srcOrd="0" destOrd="0" presId="urn:microsoft.com/office/officeart/2011/layout/CircleProcess"/>
    <dgm:cxn modelId="{949B906C-36B7-4B3C-AB19-385147900923}" type="presParOf" srcId="{873236D0-41B7-4CEC-9583-DB5C1F548AE4}" destId="{408AEB2B-CA87-4D28-B171-51F473B49551}" srcOrd="1" destOrd="0" presId="urn:microsoft.com/office/officeart/2011/layout/CircleProcess"/>
    <dgm:cxn modelId="{FBCFB09D-A9CB-4091-8E71-C78AF71A1069}" type="presParOf" srcId="{408AEB2B-CA87-4D28-B171-51F473B49551}" destId="{FBEA8862-AC02-4DEA-B951-E3158E68168E}" srcOrd="0" destOrd="0" presId="urn:microsoft.com/office/officeart/2011/layout/CircleProcess"/>
    <dgm:cxn modelId="{E9AB936D-404E-4C7C-8426-11E0D758308F}" type="presParOf" srcId="{873236D0-41B7-4CEC-9583-DB5C1F548AE4}" destId="{82966979-FCEB-4E38-B5FC-5F284CBE445A}" srcOrd="2" destOrd="0" presId="urn:microsoft.com/office/officeart/2011/layout/CircleProcess"/>
    <dgm:cxn modelId="{E216D906-9BCC-402B-A7DA-B8297B9C71E2}" type="presParOf" srcId="{873236D0-41B7-4CEC-9583-DB5C1F548AE4}" destId="{AA341E1C-79C0-4943-AAE1-6DF540BCE70C}" srcOrd="3" destOrd="0" presId="urn:microsoft.com/office/officeart/2011/layout/CircleProcess"/>
    <dgm:cxn modelId="{51AD3F0A-8A4C-4C4F-9CC1-677CAF665082}" type="presParOf" srcId="{AA341E1C-79C0-4943-AAE1-6DF540BCE70C}" destId="{63AF5807-B18C-48FF-BEA2-2171D84FEAD3}" srcOrd="0" destOrd="0" presId="urn:microsoft.com/office/officeart/2011/layout/CircleProcess"/>
    <dgm:cxn modelId="{2F548FC3-ECB3-4A52-BF63-20A558145B69}" type="presParOf" srcId="{873236D0-41B7-4CEC-9583-DB5C1F548AE4}" destId="{66527B00-97B0-4B13-BC03-3B2B686329A2}" srcOrd="4" destOrd="0" presId="urn:microsoft.com/office/officeart/2011/layout/CircleProcess"/>
    <dgm:cxn modelId="{4FCB53FB-2132-4B10-8B24-B33EC2E3F278}" type="presParOf" srcId="{66527B00-97B0-4B13-BC03-3B2B686329A2}" destId="{BFA316C8-4218-4524-A145-0D3E0D40613B}" srcOrd="0" destOrd="0" presId="urn:microsoft.com/office/officeart/2011/layout/CircleProcess"/>
    <dgm:cxn modelId="{DF55570C-9D71-40FF-89DD-E8456A663EF0}" type="presParOf" srcId="{873236D0-41B7-4CEC-9583-DB5C1F548AE4}" destId="{42A136D4-6657-4AAF-902C-778480C802B6}" srcOrd="5" destOrd="0" presId="urn:microsoft.com/office/officeart/2011/layout/CircleProcess"/>
    <dgm:cxn modelId="{5051A737-8953-44E4-B39E-C3490DFE5B94}" type="presParOf" srcId="{873236D0-41B7-4CEC-9583-DB5C1F548AE4}" destId="{D448D66C-B16C-4C3C-8260-D7DF1C74E5F5}" srcOrd="6" destOrd="0" presId="urn:microsoft.com/office/officeart/2011/layout/CircleProcess"/>
    <dgm:cxn modelId="{FB60D659-ECE4-4CFF-BF6F-3920A3FEC1AD}" type="presParOf" srcId="{D448D66C-B16C-4C3C-8260-D7DF1C74E5F5}" destId="{83120E02-7912-4E5A-A5E6-BEE3AAF920E4}" srcOrd="0" destOrd="0" presId="urn:microsoft.com/office/officeart/2011/layout/CircleProcess"/>
    <dgm:cxn modelId="{20BD4E9B-249E-40B1-A03A-9AF3942412B1}" type="presParOf" srcId="{873236D0-41B7-4CEC-9583-DB5C1F548AE4}" destId="{161A09D1-DF4C-4863-8496-0B01F899907D}" srcOrd="7" destOrd="0" presId="urn:microsoft.com/office/officeart/2011/layout/CircleProcess"/>
    <dgm:cxn modelId="{76B36590-DF3D-4CE7-BAB8-967EE9DC0F9F}" type="presParOf" srcId="{161A09D1-DF4C-4863-8496-0B01F899907D}" destId="{381BB2B9-2F74-43E4-A4FC-98C9B5CA70E3}" srcOrd="0" destOrd="0" presId="urn:microsoft.com/office/officeart/2011/layout/CircleProcess"/>
    <dgm:cxn modelId="{3982E5A0-2CB8-412F-9F0E-CAF0509F9432}" type="presParOf" srcId="{873236D0-41B7-4CEC-9583-DB5C1F548AE4}" destId="{5DE033F9-FEB0-4EB8-8027-744545003D46}" srcOrd="8" destOrd="0" presId="urn:microsoft.com/office/officeart/2011/layout/CircleProces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42BEDA8-96D7-48E6-B917-DF6006885713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</dgm:pt>
    <dgm:pt modelId="{FF46BB6F-0AC9-4F9A-A856-637874CEB940}">
      <dgm:prSet phldrT="[Text]" custT="1"/>
      <dgm:spPr>
        <a:solidFill>
          <a:schemeClr val="accent5">
            <a:lumMod val="75000"/>
          </a:schemeClr>
        </a:solidFill>
      </dgm:spPr>
      <dgm:t>
        <a:bodyPr/>
        <a:lstStyle/>
        <a:p>
          <a:pPr algn="l"/>
          <a:r>
            <a:rPr lang="en-US" sz="2800" dirty="0"/>
            <a:t>Sustainability: Maximize reuse and conservation</a:t>
          </a:r>
        </a:p>
      </dgm:t>
    </dgm:pt>
    <dgm:pt modelId="{65980934-9900-4B41-9B3A-32EA9C5F2C1B}" type="parTrans" cxnId="{943332C5-D1A2-4551-912C-B40A43E336F0}">
      <dgm:prSet/>
      <dgm:spPr/>
      <dgm:t>
        <a:bodyPr/>
        <a:lstStyle/>
        <a:p>
          <a:endParaRPr lang="en-US"/>
        </a:p>
      </dgm:t>
    </dgm:pt>
    <dgm:pt modelId="{B53CDAED-AE76-4865-95FD-409166AE7BF6}" type="sibTrans" cxnId="{943332C5-D1A2-4551-912C-B40A43E336F0}">
      <dgm:prSet/>
      <dgm:spPr/>
      <dgm:t>
        <a:bodyPr/>
        <a:lstStyle/>
        <a:p>
          <a:endParaRPr lang="en-US"/>
        </a:p>
      </dgm:t>
    </dgm:pt>
    <dgm:pt modelId="{E55A7785-2D80-4574-87AA-8BBED5470C84}">
      <dgm:prSet phldrT="[Text]" custT="1"/>
      <dgm:spPr>
        <a:solidFill>
          <a:schemeClr val="accent5">
            <a:lumMod val="75000"/>
          </a:schemeClr>
        </a:solidFill>
      </dgm:spPr>
      <dgm:t>
        <a:bodyPr/>
        <a:lstStyle/>
        <a:p>
          <a:pPr algn="l"/>
          <a:r>
            <a:rPr lang="en-US" sz="2800" dirty="0"/>
            <a:t>Tech: Incorporate in-home treatment technology</a:t>
          </a:r>
        </a:p>
      </dgm:t>
    </dgm:pt>
    <dgm:pt modelId="{5C97117E-2D27-4A1B-8A3C-070B94947309}" type="parTrans" cxnId="{39DD45CB-A0C9-4F34-A038-64518128FDC9}">
      <dgm:prSet/>
      <dgm:spPr/>
      <dgm:t>
        <a:bodyPr/>
        <a:lstStyle/>
        <a:p>
          <a:endParaRPr lang="en-US"/>
        </a:p>
      </dgm:t>
    </dgm:pt>
    <dgm:pt modelId="{2E8FA7B9-C6CB-4EDF-A5FE-A6897E1B1315}" type="sibTrans" cxnId="{39DD45CB-A0C9-4F34-A038-64518128FDC9}">
      <dgm:prSet/>
      <dgm:spPr/>
      <dgm:t>
        <a:bodyPr/>
        <a:lstStyle/>
        <a:p>
          <a:endParaRPr lang="en-US"/>
        </a:p>
      </dgm:t>
    </dgm:pt>
    <dgm:pt modelId="{A1406F99-2791-4645-83DC-8EB8F6D16BCB}">
      <dgm:prSet phldrT="[Text]" custT="1"/>
      <dgm:spPr>
        <a:solidFill>
          <a:schemeClr val="accent5">
            <a:lumMod val="75000"/>
          </a:schemeClr>
        </a:solidFill>
      </dgm:spPr>
      <dgm:t>
        <a:bodyPr/>
        <a:lstStyle/>
        <a:p>
          <a:pPr algn="l"/>
          <a:r>
            <a:rPr lang="en-US" sz="2800" dirty="0"/>
            <a:t>Governance: Regionalize utilities</a:t>
          </a:r>
        </a:p>
      </dgm:t>
    </dgm:pt>
    <dgm:pt modelId="{C9027C8A-86D4-4CD0-B147-2137338422A6}" type="parTrans" cxnId="{FBE72C67-FDFC-4896-B134-19CE26487B91}">
      <dgm:prSet/>
      <dgm:spPr/>
      <dgm:t>
        <a:bodyPr/>
        <a:lstStyle/>
        <a:p>
          <a:endParaRPr lang="en-US"/>
        </a:p>
      </dgm:t>
    </dgm:pt>
    <dgm:pt modelId="{0CB2B51E-F455-407C-BC13-21165EC8D3C9}" type="sibTrans" cxnId="{FBE72C67-FDFC-4896-B134-19CE26487B91}">
      <dgm:prSet/>
      <dgm:spPr/>
      <dgm:t>
        <a:bodyPr/>
        <a:lstStyle/>
        <a:p>
          <a:endParaRPr lang="en-US"/>
        </a:p>
      </dgm:t>
    </dgm:pt>
    <dgm:pt modelId="{8EE4A3F6-6CB0-4E78-B136-EBAEA52FC4CD}">
      <dgm:prSet phldrT="[Text]" custT="1"/>
      <dgm:spPr>
        <a:solidFill>
          <a:schemeClr val="accent5">
            <a:lumMod val="75000"/>
          </a:schemeClr>
        </a:solidFill>
      </dgm:spPr>
      <dgm:t>
        <a:bodyPr/>
        <a:lstStyle/>
        <a:p>
          <a:pPr algn="l"/>
          <a:r>
            <a:rPr lang="en-US" sz="2800" dirty="0"/>
            <a:t>Social/Demo: Meet affordability challenges</a:t>
          </a:r>
        </a:p>
      </dgm:t>
    </dgm:pt>
    <dgm:pt modelId="{F45D278D-8D8C-440A-A5DD-DD4120FF9CC7}" type="parTrans" cxnId="{8CB40497-F9BB-4A6D-9E1D-219BA6AFEFAC}">
      <dgm:prSet/>
      <dgm:spPr/>
      <dgm:t>
        <a:bodyPr/>
        <a:lstStyle/>
        <a:p>
          <a:endParaRPr lang="en-US"/>
        </a:p>
      </dgm:t>
    </dgm:pt>
    <dgm:pt modelId="{6E6308EF-B893-4D23-A523-858B90A1C1E0}" type="sibTrans" cxnId="{8CB40497-F9BB-4A6D-9E1D-219BA6AFEFAC}">
      <dgm:prSet/>
      <dgm:spPr/>
      <dgm:t>
        <a:bodyPr/>
        <a:lstStyle/>
        <a:p>
          <a:endParaRPr lang="en-US"/>
        </a:p>
      </dgm:t>
    </dgm:pt>
    <dgm:pt modelId="{669A02A0-0183-4514-AE44-634B7D35C866}">
      <dgm:prSet phldrT="[Text]" custT="1"/>
      <dgm:spPr>
        <a:solidFill>
          <a:schemeClr val="accent5">
            <a:lumMod val="75000"/>
          </a:schemeClr>
        </a:solidFill>
      </dgm:spPr>
      <dgm:t>
        <a:bodyPr/>
        <a:lstStyle/>
        <a:p>
          <a:pPr algn="l"/>
          <a:r>
            <a:rPr lang="en-US" sz="2800" dirty="0"/>
            <a:t>Econ: Advance a circular water economy</a:t>
          </a:r>
        </a:p>
      </dgm:t>
    </dgm:pt>
    <dgm:pt modelId="{9892E0EB-A937-46C7-B6A7-C5C9442D105D}" type="parTrans" cxnId="{093B26F8-B466-40F8-AC31-A02386D0DD7C}">
      <dgm:prSet/>
      <dgm:spPr/>
      <dgm:t>
        <a:bodyPr/>
        <a:lstStyle/>
        <a:p>
          <a:endParaRPr lang="en-US"/>
        </a:p>
      </dgm:t>
    </dgm:pt>
    <dgm:pt modelId="{D65602B1-46D8-4407-92A3-FAF94E23F1DD}" type="sibTrans" cxnId="{093B26F8-B466-40F8-AC31-A02386D0DD7C}">
      <dgm:prSet/>
      <dgm:spPr/>
      <dgm:t>
        <a:bodyPr/>
        <a:lstStyle/>
        <a:p>
          <a:endParaRPr lang="en-US"/>
        </a:p>
      </dgm:t>
    </dgm:pt>
    <dgm:pt modelId="{34717587-6961-45FD-AC53-B75279E73250}" type="pres">
      <dgm:prSet presAssocID="{342BEDA8-96D7-48E6-B917-DF6006885713}" presName="linearFlow" presStyleCnt="0">
        <dgm:presLayoutVars>
          <dgm:dir/>
          <dgm:resizeHandles val="exact"/>
        </dgm:presLayoutVars>
      </dgm:prSet>
      <dgm:spPr/>
    </dgm:pt>
    <dgm:pt modelId="{028719B4-3E1F-47EC-B5B4-F6551CA33CF4}" type="pres">
      <dgm:prSet presAssocID="{FF46BB6F-0AC9-4F9A-A856-637874CEB940}" presName="composite" presStyleCnt="0"/>
      <dgm:spPr/>
    </dgm:pt>
    <dgm:pt modelId="{0257B727-3FF5-46BF-B2F1-381C47DBB7FA}" type="pres">
      <dgm:prSet presAssocID="{FF46BB6F-0AC9-4F9A-A856-637874CEB940}" presName="imgShp" presStyleLbl="fgImgPlace1" presStyleIdx="0" presStyleCnt="5" custLinFactNeighborX="-88225" custLinFactNeighborY="-23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ustainability with solid fill"/>
        </a:ext>
      </dgm:extLst>
    </dgm:pt>
    <dgm:pt modelId="{20BF4996-9E85-42D0-81CA-B194A3E23655}" type="pres">
      <dgm:prSet presAssocID="{FF46BB6F-0AC9-4F9A-A856-637874CEB940}" presName="txShp" presStyleLbl="node1" presStyleIdx="0" presStyleCnt="5" custScaleX="111154">
        <dgm:presLayoutVars>
          <dgm:bulletEnabled val="1"/>
        </dgm:presLayoutVars>
      </dgm:prSet>
      <dgm:spPr/>
    </dgm:pt>
    <dgm:pt modelId="{BCB4BDAF-780E-4E71-8C51-F39A3FF43DB9}" type="pres">
      <dgm:prSet presAssocID="{B53CDAED-AE76-4865-95FD-409166AE7BF6}" presName="spacing" presStyleCnt="0"/>
      <dgm:spPr/>
    </dgm:pt>
    <dgm:pt modelId="{6643F821-D1B0-44D7-9F09-42E7CE417F78}" type="pres">
      <dgm:prSet presAssocID="{E55A7785-2D80-4574-87AA-8BBED5470C84}" presName="composite" presStyleCnt="0"/>
      <dgm:spPr/>
    </dgm:pt>
    <dgm:pt modelId="{4795C97A-BD7F-47F7-B142-8B575A66ED3B}" type="pres">
      <dgm:prSet presAssocID="{E55A7785-2D80-4574-87AA-8BBED5470C84}" presName="imgShp" presStyleLbl="fgImgPlace1" presStyleIdx="1" presStyleCnt="5" custLinFactNeighborX="-88225" custLinFactNeighborY="-3754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Selfie with solid fill"/>
        </a:ext>
      </dgm:extLst>
    </dgm:pt>
    <dgm:pt modelId="{03D5786E-630D-4103-AA7F-E2AEC8347FC7}" type="pres">
      <dgm:prSet presAssocID="{E55A7785-2D80-4574-87AA-8BBED5470C84}" presName="txShp" presStyleLbl="node1" presStyleIdx="1" presStyleCnt="5" custScaleX="111154">
        <dgm:presLayoutVars>
          <dgm:bulletEnabled val="1"/>
        </dgm:presLayoutVars>
      </dgm:prSet>
      <dgm:spPr/>
    </dgm:pt>
    <dgm:pt modelId="{0EC86001-D363-4A85-96D8-452FC8694A21}" type="pres">
      <dgm:prSet presAssocID="{2E8FA7B9-C6CB-4EDF-A5FE-A6897E1B1315}" presName="spacing" presStyleCnt="0"/>
      <dgm:spPr/>
    </dgm:pt>
    <dgm:pt modelId="{031C1047-EE37-4844-9802-DB4296653349}" type="pres">
      <dgm:prSet presAssocID="{669A02A0-0183-4514-AE44-634B7D35C866}" presName="composite" presStyleCnt="0"/>
      <dgm:spPr/>
    </dgm:pt>
    <dgm:pt modelId="{F15350C2-4B88-49F9-9671-6C9D4135D129}" type="pres">
      <dgm:prSet presAssocID="{669A02A0-0183-4514-AE44-634B7D35C866}" presName="imgShp" presStyleLbl="fgImgPlace1" presStyleIdx="2" presStyleCnt="5" custLinFactNeighborX="-88225" custLinFactNeighborY="-3754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oins with solid fill"/>
        </a:ext>
      </dgm:extLst>
    </dgm:pt>
    <dgm:pt modelId="{57290372-B514-42E0-85BF-09A526FBC441}" type="pres">
      <dgm:prSet presAssocID="{669A02A0-0183-4514-AE44-634B7D35C866}" presName="txShp" presStyleLbl="node1" presStyleIdx="2" presStyleCnt="5" custScaleX="111154">
        <dgm:presLayoutVars>
          <dgm:bulletEnabled val="1"/>
        </dgm:presLayoutVars>
      </dgm:prSet>
      <dgm:spPr/>
    </dgm:pt>
    <dgm:pt modelId="{12E316CA-756B-480C-83C9-B5C5A534A5FD}" type="pres">
      <dgm:prSet presAssocID="{D65602B1-46D8-4407-92A3-FAF94E23F1DD}" presName="spacing" presStyleCnt="0"/>
      <dgm:spPr/>
    </dgm:pt>
    <dgm:pt modelId="{02D8F9C5-6788-4151-8116-B8D10C16C70E}" type="pres">
      <dgm:prSet presAssocID="{A1406F99-2791-4645-83DC-8EB8F6D16BCB}" presName="composite" presStyleCnt="0"/>
      <dgm:spPr/>
    </dgm:pt>
    <dgm:pt modelId="{9D4A2367-5CB2-4C6C-B3E8-4FADE19790E0}" type="pres">
      <dgm:prSet presAssocID="{A1406F99-2791-4645-83DC-8EB8F6D16BCB}" presName="imgShp" presStyleLbl="fgImgPlace1" presStyleIdx="3" presStyleCnt="5" custLinFactNeighborX="-88225" custLinFactNeighborY="-3754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Bank with solid fill"/>
        </a:ext>
      </dgm:extLst>
    </dgm:pt>
    <dgm:pt modelId="{A0F4393D-923E-40E2-B878-D00FD61F9C70}" type="pres">
      <dgm:prSet presAssocID="{A1406F99-2791-4645-83DC-8EB8F6D16BCB}" presName="txShp" presStyleLbl="node1" presStyleIdx="3" presStyleCnt="5" custScaleX="111154">
        <dgm:presLayoutVars>
          <dgm:bulletEnabled val="1"/>
        </dgm:presLayoutVars>
      </dgm:prSet>
      <dgm:spPr/>
    </dgm:pt>
    <dgm:pt modelId="{683883BE-326C-4AA7-9506-2A7A130E8458}" type="pres">
      <dgm:prSet presAssocID="{0CB2B51E-F455-407C-BC13-21165EC8D3C9}" presName="spacing" presStyleCnt="0"/>
      <dgm:spPr/>
    </dgm:pt>
    <dgm:pt modelId="{DB870077-99B7-46AD-BB89-119BB78409FE}" type="pres">
      <dgm:prSet presAssocID="{8EE4A3F6-6CB0-4E78-B136-EBAEA52FC4CD}" presName="composite" presStyleCnt="0"/>
      <dgm:spPr/>
    </dgm:pt>
    <dgm:pt modelId="{FE1B9F58-B034-43FB-86AB-6CC6043F8BFB}" type="pres">
      <dgm:prSet presAssocID="{8EE4A3F6-6CB0-4E78-B136-EBAEA52FC4CD}" presName="imgShp" presStyleLbl="fgImgPlace1" presStyleIdx="4" presStyleCnt="5" custLinFactNeighborX="-88225" custLinFactNeighborY="-3754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Group of people outline"/>
        </a:ext>
      </dgm:extLst>
    </dgm:pt>
    <dgm:pt modelId="{86FD7EF1-85B8-4443-9DB9-FEB040A9DDF0}" type="pres">
      <dgm:prSet presAssocID="{8EE4A3F6-6CB0-4E78-B136-EBAEA52FC4CD}" presName="txShp" presStyleLbl="node1" presStyleIdx="4" presStyleCnt="5" custScaleX="111154">
        <dgm:presLayoutVars>
          <dgm:bulletEnabled val="1"/>
        </dgm:presLayoutVars>
      </dgm:prSet>
      <dgm:spPr/>
    </dgm:pt>
  </dgm:ptLst>
  <dgm:cxnLst>
    <dgm:cxn modelId="{306D5723-132C-49AD-9F3A-DDC660F63190}" type="presOf" srcId="{669A02A0-0183-4514-AE44-634B7D35C866}" destId="{57290372-B514-42E0-85BF-09A526FBC441}" srcOrd="0" destOrd="0" presId="urn:microsoft.com/office/officeart/2005/8/layout/vList3"/>
    <dgm:cxn modelId="{FBE72C67-FDFC-4896-B134-19CE26487B91}" srcId="{342BEDA8-96D7-48E6-B917-DF6006885713}" destId="{A1406F99-2791-4645-83DC-8EB8F6D16BCB}" srcOrd="3" destOrd="0" parTransId="{C9027C8A-86D4-4CD0-B147-2137338422A6}" sibTransId="{0CB2B51E-F455-407C-BC13-21165EC8D3C9}"/>
    <dgm:cxn modelId="{8CB40497-F9BB-4A6D-9E1D-219BA6AFEFAC}" srcId="{342BEDA8-96D7-48E6-B917-DF6006885713}" destId="{8EE4A3F6-6CB0-4E78-B136-EBAEA52FC4CD}" srcOrd="4" destOrd="0" parTransId="{F45D278D-8D8C-440A-A5DD-DD4120FF9CC7}" sibTransId="{6E6308EF-B893-4D23-A523-858B90A1C1E0}"/>
    <dgm:cxn modelId="{B9257EA8-14DD-4CBE-8A0E-FF508463E369}" type="presOf" srcId="{FF46BB6F-0AC9-4F9A-A856-637874CEB940}" destId="{20BF4996-9E85-42D0-81CA-B194A3E23655}" srcOrd="0" destOrd="0" presId="urn:microsoft.com/office/officeart/2005/8/layout/vList3"/>
    <dgm:cxn modelId="{943332C5-D1A2-4551-912C-B40A43E336F0}" srcId="{342BEDA8-96D7-48E6-B917-DF6006885713}" destId="{FF46BB6F-0AC9-4F9A-A856-637874CEB940}" srcOrd="0" destOrd="0" parTransId="{65980934-9900-4B41-9B3A-32EA9C5F2C1B}" sibTransId="{B53CDAED-AE76-4865-95FD-409166AE7BF6}"/>
    <dgm:cxn modelId="{39DD45CB-A0C9-4F34-A038-64518128FDC9}" srcId="{342BEDA8-96D7-48E6-B917-DF6006885713}" destId="{E55A7785-2D80-4574-87AA-8BBED5470C84}" srcOrd="1" destOrd="0" parTransId="{5C97117E-2D27-4A1B-8A3C-070B94947309}" sibTransId="{2E8FA7B9-C6CB-4EDF-A5FE-A6897E1B1315}"/>
    <dgm:cxn modelId="{D9BF31D6-717D-4248-95AF-F639C84EEB77}" type="presOf" srcId="{342BEDA8-96D7-48E6-B917-DF6006885713}" destId="{34717587-6961-45FD-AC53-B75279E73250}" srcOrd="0" destOrd="0" presId="urn:microsoft.com/office/officeart/2005/8/layout/vList3"/>
    <dgm:cxn modelId="{457E53ED-C462-4155-95DD-36FF2F59E7E8}" type="presOf" srcId="{A1406F99-2791-4645-83DC-8EB8F6D16BCB}" destId="{A0F4393D-923E-40E2-B878-D00FD61F9C70}" srcOrd="0" destOrd="0" presId="urn:microsoft.com/office/officeart/2005/8/layout/vList3"/>
    <dgm:cxn modelId="{093B26F8-B466-40F8-AC31-A02386D0DD7C}" srcId="{342BEDA8-96D7-48E6-B917-DF6006885713}" destId="{669A02A0-0183-4514-AE44-634B7D35C866}" srcOrd="2" destOrd="0" parTransId="{9892E0EB-A937-46C7-B6A7-C5C9442D105D}" sibTransId="{D65602B1-46D8-4407-92A3-FAF94E23F1DD}"/>
    <dgm:cxn modelId="{BC2946F9-B9C4-4D39-9F0B-0C3F679FA1C9}" type="presOf" srcId="{8EE4A3F6-6CB0-4E78-B136-EBAEA52FC4CD}" destId="{86FD7EF1-85B8-4443-9DB9-FEB040A9DDF0}" srcOrd="0" destOrd="0" presId="urn:microsoft.com/office/officeart/2005/8/layout/vList3"/>
    <dgm:cxn modelId="{C3BBB9FD-63C5-448D-B9B6-7BFF6B18B535}" type="presOf" srcId="{E55A7785-2D80-4574-87AA-8BBED5470C84}" destId="{03D5786E-630D-4103-AA7F-E2AEC8347FC7}" srcOrd="0" destOrd="0" presId="urn:microsoft.com/office/officeart/2005/8/layout/vList3"/>
    <dgm:cxn modelId="{4DE59A7F-0402-492A-B51C-78F85014889A}" type="presParOf" srcId="{34717587-6961-45FD-AC53-B75279E73250}" destId="{028719B4-3E1F-47EC-B5B4-F6551CA33CF4}" srcOrd="0" destOrd="0" presId="urn:microsoft.com/office/officeart/2005/8/layout/vList3"/>
    <dgm:cxn modelId="{CA200981-8C01-4B39-A088-4F7BDF65BE0C}" type="presParOf" srcId="{028719B4-3E1F-47EC-B5B4-F6551CA33CF4}" destId="{0257B727-3FF5-46BF-B2F1-381C47DBB7FA}" srcOrd="0" destOrd="0" presId="urn:microsoft.com/office/officeart/2005/8/layout/vList3"/>
    <dgm:cxn modelId="{18E96EC1-9D07-4D4A-95B9-46B42AE30CA0}" type="presParOf" srcId="{028719B4-3E1F-47EC-B5B4-F6551CA33CF4}" destId="{20BF4996-9E85-42D0-81CA-B194A3E23655}" srcOrd="1" destOrd="0" presId="urn:microsoft.com/office/officeart/2005/8/layout/vList3"/>
    <dgm:cxn modelId="{87E2B4B7-D1E8-4A94-AA45-181BB10BC8F7}" type="presParOf" srcId="{34717587-6961-45FD-AC53-B75279E73250}" destId="{BCB4BDAF-780E-4E71-8C51-F39A3FF43DB9}" srcOrd="1" destOrd="0" presId="urn:microsoft.com/office/officeart/2005/8/layout/vList3"/>
    <dgm:cxn modelId="{6BDCFD8C-877F-4D3D-B12E-F0377F9A8D9C}" type="presParOf" srcId="{34717587-6961-45FD-AC53-B75279E73250}" destId="{6643F821-D1B0-44D7-9F09-42E7CE417F78}" srcOrd="2" destOrd="0" presId="urn:microsoft.com/office/officeart/2005/8/layout/vList3"/>
    <dgm:cxn modelId="{C471595F-6B04-4773-B3C2-90A29F3FB33A}" type="presParOf" srcId="{6643F821-D1B0-44D7-9F09-42E7CE417F78}" destId="{4795C97A-BD7F-47F7-B142-8B575A66ED3B}" srcOrd="0" destOrd="0" presId="urn:microsoft.com/office/officeart/2005/8/layout/vList3"/>
    <dgm:cxn modelId="{D4493DD9-BF14-440D-A813-641FF793BF95}" type="presParOf" srcId="{6643F821-D1B0-44D7-9F09-42E7CE417F78}" destId="{03D5786E-630D-4103-AA7F-E2AEC8347FC7}" srcOrd="1" destOrd="0" presId="urn:microsoft.com/office/officeart/2005/8/layout/vList3"/>
    <dgm:cxn modelId="{71038774-926A-4636-A4BA-1FDC74BA8B1A}" type="presParOf" srcId="{34717587-6961-45FD-AC53-B75279E73250}" destId="{0EC86001-D363-4A85-96D8-452FC8694A21}" srcOrd="3" destOrd="0" presId="urn:microsoft.com/office/officeart/2005/8/layout/vList3"/>
    <dgm:cxn modelId="{2C419F12-F654-4595-981E-D089D13B693A}" type="presParOf" srcId="{34717587-6961-45FD-AC53-B75279E73250}" destId="{031C1047-EE37-4844-9802-DB4296653349}" srcOrd="4" destOrd="0" presId="urn:microsoft.com/office/officeart/2005/8/layout/vList3"/>
    <dgm:cxn modelId="{C615185C-72D4-4A20-B0C5-1D6CBB971E9A}" type="presParOf" srcId="{031C1047-EE37-4844-9802-DB4296653349}" destId="{F15350C2-4B88-49F9-9671-6C9D4135D129}" srcOrd="0" destOrd="0" presId="urn:microsoft.com/office/officeart/2005/8/layout/vList3"/>
    <dgm:cxn modelId="{22B37B3B-08FD-493D-A49B-613B3DB6CB42}" type="presParOf" srcId="{031C1047-EE37-4844-9802-DB4296653349}" destId="{57290372-B514-42E0-85BF-09A526FBC441}" srcOrd="1" destOrd="0" presId="urn:microsoft.com/office/officeart/2005/8/layout/vList3"/>
    <dgm:cxn modelId="{79E29B6D-E796-4EB7-821F-D48D0A50494A}" type="presParOf" srcId="{34717587-6961-45FD-AC53-B75279E73250}" destId="{12E316CA-756B-480C-83C9-B5C5A534A5FD}" srcOrd="5" destOrd="0" presId="urn:microsoft.com/office/officeart/2005/8/layout/vList3"/>
    <dgm:cxn modelId="{5D48413F-F543-4636-9A87-7270ECEDDC3F}" type="presParOf" srcId="{34717587-6961-45FD-AC53-B75279E73250}" destId="{02D8F9C5-6788-4151-8116-B8D10C16C70E}" srcOrd="6" destOrd="0" presId="urn:microsoft.com/office/officeart/2005/8/layout/vList3"/>
    <dgm:cxn modelId="{CFCF439F-2EA8-4A4F-AC0B-F195857C3232}" type="presParOf" srcId="{02D8F9C5-6788-4151-8116-B8D10C16C70E}" destId="{9D4A2367-5CB2-4C6C-B3E8-4FADE19790E0}" srcOrd="0" destOrd="0" presId="urn:microsoft.com/office/officeart/2005/8/layout/vList3"/>
    <dgm:cxn modelId="{7BA5B77A-7CE8-4515-A26B-4C5224E7E7A8}" type="presParOf" srcId="{02D8F9C5-6788-4151-8116-B8D10C16C70E}" destId="{A0F4393D-923E-40E2-B878-D00FD61F9C70}" srcOrd="1" destOrd="0" presId="urn:microsoft.com/office/officeart/2005/8/layout/vList3"/>
    <dgm:cxn modelId="{7283F7A4-02C2-4240-86E6-169C25B01A67}" type="presParOf" srcId="{34717587-6961-45FD-AC53-B75279E73250}" destId="{683883BE-326C-4AA7-9506-2A7A130E8458}" srcOrd="7" destOrd="0" presId="urn:microsoft.com/office/officeart/2005/8/layout/vList3"/>
    <dgm:cxn modelId="{F9AC0383-FFDF-404D-B893-11F29EB307E8}" type="presParOf" srcId="{34717587-6961-45FD-AC53-B75279E73250}" destId="{DB870077-99B7-46AD-BB89-119BB78409FE}" srcOrd="8" destOrd="0" presId="urn:microsoft.com/office/officeart/2005/8/layout/vList3"/>
    <dgm:cxn modelId="{356B57C6-693B-499D-97E4-BAFEBF391492}" type="presParOf" srcId="{DB870077-99B7-46AD-BB89-119BB78409FE}" destId="{FE1B9F58-B034-43FB-86AB-6CC6043F8BFB}" srcOrd="0" destOrd="0" presId="urn:microsoft.com/office/officeart/2005/8/layout/vList3"/>
    <dgm:cxn modelId="{371AD213-52E6-461B-A883-0288F2A91528}" type="presParOf" srcId="{DB870077-99B7-46AD-BB89-119BB78409FE}" destId="{86FD7EF1-85B8-4443-9DB9-FEB040A9DDF0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1346085-3D6C-4041-9A6F-199E40742B02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/>
      <dgm:spPr/>
      <dgm:t>
        <a:bodyPr/>
        <a:lstStyle/>
        <a:p>
          <a:endParaRPr lang="en-US"/>
        </a:p>
      </dgm:t>
    </dgm:pt>
    <dgm:pt modelId="{54BC8FC2-A373-40BA-9287-B8C50F40B67F}">
      <dgm:prSet/>
      <dgm:spPr/>
      <dgm:t>
        <a:bodyPr/>
        <a:lstStyle/>
        <a:p>
          <a:r>
            <a:rPr lang="en-US" dirty="0"/>
            <a:t>David LaFrance, CEO</a:t>
          </a:r>
        </a:p>
      </dgm:t>
    </dgm:pt>
    <dgm:pt modelId="{3897C1E6-5290-430F-A89B-72BFF10DBEF2}" type="parTrans" cxnId="{060CABA9-048E-4CB1-A87D-8D5FEBA4C82A}">
      <dgm:prSet/>
      <dgm:spPr/>
      <dgm:t>
        <a:bodyPr/>
        <a:lstStyle/>
        <a:p>
          <a:endParaRPr lang="en-US"/>
        </a:p>
      </dgm:t>
    </dgm:pt>
    <dgm:pt modelId="{6C0E1C61-309F-4D6D-AE6C-94FA28EF3DBE}" type="sibTrans" cxnId="{060CABA9-048E-4CB1-A87D-8D5FEBA4C82A}">
      <dgm:prSet/>
      <dgm:spPr/>
      <dgm:t>
        <a:bodyPr/>
        <a:lstStyle/>
        <a:p>
          <a:endParaRPr lang="en-US"/>
        </a:p>
      </dgm:t>
    </dgm:pt>
    <dgm:pt modelId="{B18F2C55-0F46-4EC6-9848-F41F614F9C97}">
      <dgm:prSet/>
      <dgm:spPr/>
      <dgm:t>
        <a:bodyPr/>
        <a:lstStyle/>
        <a:p>
          <a:r>
            <a:rPr lang="en-US"/>
            <a:t>American Water Works Association</a:t>
          </a:r>
        </a:p>
      </dgm:t>
    </dgm:pt>
    <dgm:pt modelId="{A63E9B20-6258-43F6-A73F-70A2CC0279F2}" type="parTrans" cxnId="{9E7D43C2-A76C-43E6-B48C-AEC226762914}">
      <dgm:prSet/>
      <dgm:spPr/>
      <dgm:t>
        <a:bodyPr/>
        <a:lstStyle/>
        <a:p>
          <a:endParaRPr lang="en-US"/>
        </a:p>
      </dgm:t>
    </dgm:pt>
    <dgm:pt modelId="{0CA7690A-72C6-45E1-A2A6-4EF35256DAB2}" type="sibTrans" cxnId="{9E7D43C2-A76C-43E6-B48C-AEC226762914}">
      <dgm:prSet/>
      <dgm:spPr/>
      <dgm:t>
        <a:bodyPr/>
        <a:lstStyle/>
        <a:p>
          <a:endParaRPr lang="en-US"/>
        </a:p>
      </dgm:t>
    </dgm:pt>
    <dgm:pt modelId="{D04807D0-43E8-4084-AA90-FF0CC0255669}">
      <dgm:prSet/>
      <dgm:spPr/>
      <dgm:t>
        <a:bodyPr/>
        <a:lstStyle/>
        <a:p>
          <a:r>
            <a:rPr lang="en-US"/>
            <a:t>Email: dlafrance@awwa.org</a:t>
          </a:r>
        </a:p>
      </dgm:t>
    </dgm:pt>
    <dgm:pt modelId="{8F66BD25-887B-4495-B860-6DA46E8A2D0F}" type="parTrans" cxnId="{26F03648-725A-4D97-B729-018335DA0180}">
      <dgm:prSet/>
      <dgm:spPr/>
      <dgm:t>
        <a:bodyPr/>
        <a:lstStyle/>
        <a:p>
          <a:endParaRPr lang="en-US"/>
        </a:p>
      </dgm:t>
    </dgm:pt>
    <dgm:pt modelId="{587BA61F-C709-4510-B7C4-9CB5AE00F0E9}" type="sibTrans" cxnId="{26F03648-725A-4D97-B729-018335DA0180}">
      <dgm:prSet/>
      <dgm:spPr/>
      <dgm:t>
        <a:bodyPr/>
        <a:lstStyle/>
        <a:p>
          <a:endParaRPr lang="en-US"/>
        </a:p>
      </dgm:t>
    </dgm:pt>
    <dgm:pt modelId="{BEB43F83-7097-4E7A-AE1F-D3DCB8BAE4DC}" type="pres">
      <dgm:prSet presAssocID="{91346085-3D6C-4041-9A6F-199E40742B02}" presName="linear" presStyleCnt="0">
        <dgm:presLayoutVars>
          <dgm:animLvl val="lvl"/>
          <dgm:resizeHandles val="exact"/>
        </dgm:presLayoutVars>
      </dgm:prSet>
      <dgm:spPr/>
    </dgm:pt>
    <dgm:pt modelId="{F39D249E-8E10-47B3-8B8F-5644CD55957F}" type="pres">
      <dgm:prSet presAssocID="{54BC8FC2-A373-40BA-9287-B8C50F40B67F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68690CE2-BEA1-476C-82B2-F3E726E0E14A}" type="pres">
      <dgm:prSet presAssocID="{6C0E1C61-309F-4D6D-AE6C-94FA28EF3DBE}" presName="spacer" presStyleCnt="0"/>
      <dgm:spPr/>
    </dgm:pt>
    <dgm:pt modelId="{93798BBC-8126-4961-8129-CAA63FB4BE7C}" type="pres">
      <dgm:prSet presAssocID="{B18F2C55-0F46-4EC6-9848-F41F614F9C97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5EB4CA1D-C566-407D-980D-09C902DFB324}" type="pres">
      <dgm:prSet presAssocID="{0CA7690A-72C6-45E1-A2A6-4EF35256DAB2}" presName="spacer" presStyleCnt="0"/>
      <dgm:spPr/>
    </dgm:pt>
    <dgm:pt modelId="{186E5AC7-EB60-4943-A0DC-96CE50A93698}" type="pres">
      <dgm:prSet presAssocID="{D04807D0-43E8-4084-AA90-FF0CC0255669}" presName="parentText" presStyleLbl="node1" presStyleIdx="2" presStyleCnt="3">
        <dgm:presLayoutVars>
          <dgm:chMax val="0"/>
          <dgm:bulletEnabled val="1"/>
        </dgm:presLayoutVars>
      </dgm:prSet>
      <dgm:spPr/>
    </dgm:pt>
  </dgm:ptLst>
  <dgm:cxnLst>
    <dgm:cxn modelId="{26F03648-725A-4D97-B729-018335DA0180}" srcId="{91346085-3D6C-4041-9A6F-199E40742B02}" destId="{D04807D0-43E8-4084-AA90-FF0CC0255669}" srcOrd="2" destOrd="0" parTransId="{8F66BD25-887B-4495-B860-6DA46E8A2D0F}" sibTransId="{587BA61F-C709-4510-B7C4-9CB5AE00F0E9}"/>
    <dgm:cxn modelId="{5DAE825A-82EF-44E3-9BA4-F2817501EEE2}" type="presOf" srcId="{91346085-3D6C-4041-9A6F-199E40742B02}" destId="{BEB43F83-7097-4E7A-AE1F-D3DCB8BAE4DC}" srcOrd="0" destOrd="0" presId="urn:microsoft.com/office/officeart/2005/8/layout/vList2"/>
    <dgm:cxn modelId="{E5813492-1339-4722-804F-73296AC4A3B6}" type="presOf" srcId="{54BC8FC2-A373-40BA-9287-B8C50F40B67F}" destId="{F39D249E-8E10-47B3-8B8F-5644CD55957F}" srcOrd="0" destOrd="0" presId="urn:microsoft.com/office/officeart/2005/8/layout/vList2"/>
    <dgm:cxn modelId="{B01A4192-3BD9-4BE0-BF91-EEC0450AA626}" type="presOf" srcId="{D04807D0-43E8-4084-AA90-FF0CC0255669}" destId="{186E5AC7-EB60-4943-A0DC-96CE50A93698}" srcOrd="0" destOrd="0" presId="urn:microsoft.com/office/officeart/2005/8/layout/vList2"/>
    <dgm:cxn modelId="{060CABA9-048E-4CB1-A87D-8D5FEBA4C82A}" srcId="{91346085-3D6C-4041-9A6F-199E40742B02}" destId="{54BC8FC2-A373-40BA-9287-B8C50F40B67F}" srcOrd="0" destOrd="0" parTransId="{3897C1E6-5290-430F-A89B-72BFF10DBEF2}" sibTransId="{6C0E1C61-309F-4D6D-AE6C-94FA28EF3DBE}"/>
    <dgm:cxn modelId="{8F2BA4C0-F8B1-4E98-B7BC-49A02B26CD70}" type="presOf" srcId="{B18F2C55-0F46-4EC6-9848-F41F614F9C97}" destId="{93798BBC-8126-4961-8129-CAA63FB4BE7C}" srcOrd="0" destOrd="0" presId="urn:microsoft.com/office/officeart/2005/8/layout/vList2"/>
    <dgm:cxn modelId="{9E7D43C2-A76C-43E6-B48C-AEC226762914}" srcId="{91346085-3D6C-4041-9A6F-199E40742B02}" destId="{B18F2C55-0F46-4EC6-9848-F41F614F9C97}" srcOrd="1" destOrd="0" parTransId="{A63E9B20-6258-43F6-A73F-70A2CC0279F2}" sibTransId="{0CA7690A-72C6-45E1-A2A6-4EF35256DAB2}"/>
    <dgm:cxn modelId="{483E0CDA-A898-4B5C-A4E5-711A7C9D3C65}" type="presParOf" srcId="{BEB43F83-7097-4E7A-AE1F-D3DCB8BAE4DC}" destId="{F39D249E-8E10-47B3-8B8F-5644CD55957F}" srcOrd="0" destOrd="0" presId="urn:microsoft.com/office/officeart/2005/8/layout/vList2"/>
    <dgm:cxn modelId="{2D3889E6-AE12-4967-B7EC-23F204CC9F78}" type="presParOf" srcId="{BEB43F83-7097-4E7A-AE1F-D3DCB8BAE4DC}" destId="{68690CE2-BEA1-476C-82B2-F3E726E0E14A}" srcOrd="1" destOrd="0" presId="urn:microsoft.com/office/officeart/2005/8/layout/vList2"/>
    <dgm:cxn modelId="{AE3F2F8D-3EDB-43D4-9087-ACE16A436C93}" type="presParOf" srcId="{BEB43F83-7097-4E7A-AE1F-D3DCB8BAE4DC}" destId="{93798BBC-8126-4961-8129-CAA63FB4BE7C}" srcOrd="2" destOrd="0" presId="urn:microsoft.com/office/officeart/2005/8/layout/vList2"/>
    <dgm:cxn modelId="{5A93B3D5-4666-4CED-926D-D556A3FD4A79}" type="presParOf" srcId="{BEB43F83-7097-4E7A-AE1F-D3DCB8BAE4DC}" destId="{5EB4CA1D-C566-407D-980D-09C902DFB324}" srcOrd="3" destOrd="0" presId="urn:microsoft.com/office/officeart/2005/8/layout/vList2"/>
    <dgm:cxn modelId="{7235F717-5C76-4CE9-AA0C-419599FA3734}" type="presParOf" srcId="{BEB43F83-7097-4E7A-AE1F-D3DCB8BAE4DC}" destId="{186E5AC7-EB60-4943-A0DC-96CE50A93698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519711-A7FB-4970-A30E-8CA944190490}">
      <dsp:nvSpPr>
        <dsp:cNvPr id="0" name=""/>
        <dsp:cNvSpPr/>
      </dsp:nvSpPr>
      <dsp:spPr>
        <a:xfrm>
          <a:off x="2567" y="1860798"/>
          <a:ext cx="2284883" cy="913953"/>
        </a:xfrm>
        <a:prstGeom prst="chevron">
          <a:avLst/>
        </a:prstGeom>
        <a:solidFill>
          <a:schemeClr val="accent1">
            <a:shade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Cuyahoga River Fire</a:t>
          </a:r>
        </a:p>
      </dsp:txBody>
      <dsp:txXfrm>
        <a:off x="459544" y="1860798"/>
        <a:ext cx="1370930" cy="913953"/>
      </dsp:txXfrm>
    </dsp:sp>
    <dsp:sp modelId="{5E527CE5-7862-4843-B916-5C72F5EF1180}">
      <dsp:nvSpPr>
        <dsp:cNvPr id="0" name=""/>
        <dsp:cNvSpPr/>
      </dsp:nvSpPr>
      <dsp:spPr>
        <a:xfrm>
          <a:off x="2058962" y="1860798"/>
          <a:ext cx="2284883" cy="913953"/>
        </a:xfrm>
        <a:prstGeom prst="chevron">
          <a:avLst/>
        </a:prstGeom>
        <a:solidFill>
          <a:schemeClr val="accent1">
            <a:shade val="50000"/>
            <a:hueOff val="160997"/>
            <a:satOff val="-3921"/>
            <a:lumOff val="1715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/>
            <a:t>Earth Day Created</a:t>
          </a:r>
        </a:p>
      </dsp:txBody>
      <dsp:txXfrm>
        <a:off x="2515939" y="1860798"/>
        <a:ext cx="1370930" cy="913953"/>
      </dsp:txXfrm>
    </dsp:sp>
    <dsp:sp modelId="{56CA4961-A6E2-4A77-9CF9-FFBC89517DE5}">
      <dsp:nvSpPr>
        <dsp:cNvPr id="0" name=""/>
        <dsp:cNvSpPr/>
      </dsp:nvSpPr>
      <dsp:spPr>
        <a:xfrm>
          <a:off x="4115358" y="1860798"/>
          <a:ext cx="2284883" cy="913953"/>
        </a:xfrm>
        <a:prstGeom prst="chevron">
          <a:avLst/>
        </a:prstGeom>
        <a:solidFill>
          <a:schemeClr val="accent1">
            <a:shade val="50000"/>
            <a:hueOff val="321995"/>
            <a:satOff val="-7842"/>
            <a:lumOff val="3431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/>
            <a:t>US EPA created</a:t>
          </a:r>
        </a:p>
      </dsp:txBody>
      <dsp:txXfrm>
        <a:off x="4572335" y="1860798"/>
        <a:ext cx="1370930" cy="913953"/>
      </dsp:txXfrm>
    </dsp:sp>
    <dsp:sp modelId="{EEF58DBD-F760-4964-ADFF-1C23E6F39CA7}">
      <dsp:nvSpPr>
        <dsp:cNvPr id="0" name=""/>
        <dsp:cNvSpPr/>
      </dsp:nvSpPr>
      <dsp:spPr>
        <a:xfrm>
          <a:off x="6171753" y="1860798"/>
          <a:ext cx="2284883" cy="913953"/>
        </a:xfrm>
        <a:prstGeom prst="chevron">
          <a:avLst/>
        </a:prstGeom>
        <a:solidFill>
          <a:schemeClr val="accent1">
            <a:shade val="50000"/>
            <a:hueOff val="321995"/>
            <a:satOff val="-7842"/>
            <a:lumOff val="3431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/>
            <a:t>Clean Water Act Passed</a:t>
          </a:r>
        </a:p>
      </dsp:txBody>
      <dsp:txXfrm>
        <a:off x="6628730" y="1860798"/>
        <a:ext cx="1370930" cy="913953"/>
      </dsp:txXfrm>
    </dsp:sp>
    <dsp:sp modelId="{E78014F6-09C4-4F2B-A7EE-6A2E65199149}">
      <dsp:nvSpPr>
        <dsp:cNvPr id="0" name=""/>
        <dsp:cNvSpPr/>
      </dsp:nvSpPr>
      <dsp:spPr>
        <a:xfrm>
          <a:off x="8228148" y="1860798"/>
          <a:ext cx="2284883" cy="913953"/>
        </a:xfrm>
        <a:prstGeom prst="chevron">
          <a:avLst/>
        </a:prstGeom>
        <a:solidFill>
          <a:schemeClr val="accent1">
            <a:shade val="50000"/>
            <a:hueOff val="160997"/>
            <a:satOff val="-3921"/>
            <a:lumOff val="1715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0" kern="1200" dirty="0"/>
            <a:t>Safe Drinking Water Act Passed</a:t>
          </a:r>
        </a:p>
      </dsp:txBody>
      <dsp:txXfrm>
        <a:off x="8685125" y="1860798"/>
        <a:ext cx="1370930" cy="91395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8A06469-E51E-4F5D-B05A-ADB9BD966FAC}">
      <dsp:nvSpPr>
        <dsp:cNvPr id="0" name=""/>
        <dsp:cNvSpPr/>
      </dsp:nvSpPr>
      <dsp:spPr>
        <a:xfrm>
          <a:off x="4892829" y="917976"/>
          <a:ext cx="284586" cy="98566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BEA8862-AC02-4DEA-B951-E3158E68168E}">
      <dsp:nvSpPr>
        <dsp:cNvPr id="0" name=""/>
        <dsp:cNvSpPr/>
      </dsp:nvSpPr>
      <dsp:spPr>
        <a:xfrm>
          <a:off x="4362294" y="432410"/>
          <a:ext cx="2240209" cy="2308738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>
              <a:solidFill>
                <a:schemeClr val="tx1"/>
              </a:solidFill>
            </a:rPr>
            <a:t>Raise awareness of emerging issues </a:t>
          </a:r>
        </a:p>
      </dsp:txBody>
      <dsp:txXfrm>
        <a:off x="4682547" y="762291"/>
        <a:ext cx="1599703" cy="1648974"/>
      </dsp:txXfrm>
    </dsp:sp>
    <dsp:sp modelId="{63AF5807-B18C-48FF-BEA2-2171D84FEAD3}">
      <dsp:nvSpPr>
        <dsp:cNvPr id="0" name=""/>
        <dsp:cNvSpPr/>
      </dsp:nvSpPr>
      <dsp:spPr>
        <a:xfrm rot="18900000" flipV="1">
          <a:off x="3350551" y="1387743"/>
          <a:ext cx="45847" cy="45847"/>
        </a:xfrm>
        <a:prstGeom prst="teardrop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FA316C8-4218-4524-A145-0D3E0D40613B}">
      <dsp:nvSpPr>
        <dsp:cNvPr id="0" name=""/>
        <dsp:cNvSpPr/>
      </dsp:nvSpPr>
      <dsp:spPr>
        <a:xfrm>
          <a:off x="2215741" y="432410"/>
          <a:ext cx="2240209" cy="2308738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>
              <a:solidFill>
                <a:schemeClr val="tx1"/>
              </a:solidFill>
            </a:rPr>
            <a:t>Identify and track water trends</a:t>
          </a:r>
        </a:p>
      </dsp:txBody>
      <dsp:txXfrm>
        <a:off x="2535994" y="762291"/>
        <a:ext cx="1599703" cy="1648974"/>
      </dsp:txXfrm>
    </dsp:sp>
    <dsp:sp modelId="{83120E02-7912-4E5A-A5E6-BEE3AAF920E4}">
      <dsp:nvSpPr>
        <dsp:cNvPr id="0" name=""/>
        <dsp:cNvSpPr/>
      </dsp:nvSpPr>
      <dsp:spPr>
        <a:xfrm rot="18900000" flipV="1">
          <a:off x="1669462" y="1368301"/>
          <a:ext cx="84731" cy="84731"/>
        </a:xfrm>
        <a:prstGeom prst="teardrop">
          <a:avLst>
            <a:gd name="adj" fmla="val 10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81BB2B9-2F74-43E4-A4FC-98C9B5CA70E3}">
      <dsp:nvSpPr>
        <dsp:cNvPr id="0" name=""/>
        <dsp:cNvSpPr/>
      </dsp:nvSpPr>
      <dsp:spPr>
        <a:xfrm>
          <a:off x="0" y="508636"/>
          <a:ext cx="2211826" cy="2308738"/>
        </a:xfrm>
        <a:prstGeom prst="ellipse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70" tIns="26670" rIns="26670" bIns="266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100" kern="1200" dirty="0">
              <a:solidFill>
                <a:schemeClr val="tx1"/>
              </a:solidFill>
            </a:rPr>
            <a:t>Insights to key water issues</a:t>
          </a:r>
        </a:p>
      </dsp:txBody>
      <dsp:txXfrm>
        <a:off x="316195" y="838518"/>
        <a:ext cx="1579435" cy="164897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0BF4996-9E85-42D0-81CA-B194A3E23655}">
      <dsp:nvSpPr>
        <dsp:cNvPr id="0" name=""/>
        <dsp:cNvSpPr/>
      </dsp:nvSpPr>
      <dsp:spPr>
        <a:xfrm rot="10800000">
          <a:off x="1371370" y="1775"/>
          <a:ext cx="7772859" cy="761135"/>
        </a:xfrm>
        <a:prstGeom prst="homePlate">
          <a:avLst/>
        </a:prstGeom>
        <a:solidFill>
          <a:schemeClr val="accent5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5640" tIns="106680" rIns="199136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Sustainability: Maximize reuse and conservation</a:t>
          </a:r>
        </a:p>
      </dsp:txBody>
      <dsp:txXfrm rot="10800000">
        <a:off x="1561654" y="1775"/>
        <a:ext cx="7582575" cy="761135"/>
      </dsp:txXfrm>
    </dsp:sp>
    <dsp:sp modelId="{0257B727-3FF5-46BF-B2F1-381C47DBB7FA}">
      <dsp:nvSpPr>
        <dsp:cNvPr id="0" name=""/>
        <dsp:cNvSpPr/>
      </dsp:nvSpPr>
      <dsp:spPr>
        <a:xfrm>
          <a:off x="709282" y="2"/>
          <a:ext cx="761135" cy="761135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3D5786E-630D-4103-AA7F-E2AEC8347FC7}">
      <dsp:nvSpPr>
        <dsp:cNvPr id="0" name=""/>
        <dsp:cNvSpPr/>
      </dsp:nvSpPr>
      <dsp:spPr>
        <a:xfrm rot="10800000">
          <a:off x="1371370" y="990116"/>
          <a:ext cx="7772859" cy="761135"/>
        </a:xfrm>
        <a:prstGeom prst="homePlate">
          <a:avLst/>
        </a:prstGeom>
        <a:solidFill>
          <a:schemeClr val="accent5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5640" tIns="106680" rIns="199136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Tech: Incorporate in-home treatment technology</a:t>
          </a:r>
        </a:p>
      </dsp:txBody>
      <dsp:txXfrm rot="10800000">
        <a:off x="1561654" y="990116"/>
        <a:ext cx="7582575" cy="761135"/>
      </dsp:txXfrm>
    </dsp:sp>
    <dsp:sp modelId="{4795C97A-BD7F-47F7-B142-8B575A66ED3B}">
      <dsp:nvSpPr>
        <dsp:cNvPr id="0" name=""/>
        <dsp:cNvSpPr/>
      </dsp:nvSpPr>
      <dsp:spPr>
        <a:xfrm>
          <a:off x="709282" y="961543"/>
          <a:ext cx="761135" cy="761135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7290372-B514-42E0-85BF-09A526FBC441}">
      <dsp:nvSpPr>
        <dsp:cNvPr id="0" name=""/>
        <dsp:cNvSpPr/>
      </dsp:nvSpPr>
      <dsp:spPr>
        <a:xfrm rot="10800000">
          <a:off x="1371370" y="1978457"/>
          <a:ext cx="7772859" cy="761135"/>
        </a:xfrm>
        <a:prstGeom prst="homePlate">
          <a:avLst/>
        </a:prstGeom>
        <a:solidFill>
          <a:schemeClr val="accent5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5640" tIns="106680" rIns="199136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Econ: Advance a circular water economy</a:t>
          </a:r>
        </a:p>
      </dsp:txBody>
      <dsp:txXfrm rot="10800000">
        <a:off x="1561654" y="1978457"/>
        <a:ext cx="7582575" cy="761135"/>
      </dsp:txXfrm>
    </dsp:sp>
    <dsp:sp modelId="{F15350C2-4B88-49F9-9671-6C9D4135D129}">
      <dsp:nvSpPr>
        <dsp:cNvPr id="0" name=""/>
        <dsp:cNvSpPr/>
      </dsp:nvSpPr>
      <dsp:spPr>
        <a:xfrm>
          <a:off x="709282" y="1949884"/>
          <a:ext cx="761135" cy="761135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0F4393D-923E-40E2-B878-D00FD61F9C70}">
      <dsp:nvSpPr>
        <dsp:cNvPr id="0" name=""/>
        <dsp:cNvSpPr/>
      </dsp:nvSpPr>
      <dsp:spPr>
        <a:xfrm rot="10800000">
          <a:off x="1371370" y="2966797"/>
          <a:ext cx="7772859" cy="761135"/>
        </a:xfrm>
        <a:prstGeom prst="homePlate">
          <a:avLst/>
        </a:prstGeom>
        <a:solidFill>
          <a:schemeClr val="accent5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5640" tIns="106680" rIns="199136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Governance: Regionalize utilities</a:t>
          </a:r>
        </a:p>
      </dsp:txBody>
      <dsp:txXfrm rot="10800000">
        <a:off x="1561654" y="2966797"/>
        <a:ext cx="7582575" cy="761135"/>
      </dsp:txXfrm>
    </dsp:sp>
    <dsp:sp modelId="{9D4A2367-5CB2-4C6C-B3E8-4FADE19790E0}">
      <dsp:nvSpPr>
        <dsp:cNvPr id="0" name=""/>
        <dsp:cNvSpPr/>
      </dsp:nvSpPr>
      <dsp:spPr>
        <a:xfrm>
          <a:off x="709282" y="2938224"/>
          <a:ext cx="761135" cy="761135"/>
        </a:xfrm>
        <a:prstGeom prst="ellipse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6FD7EF1-85B8-4443-9DB9-FEB040A9DDF0}">
      <dsp:nvSpPr>
        <dsp:cNvPr id="0" name=""/>
        <dsp:cNvSpPr/>
      </dsp:nvSpPr>
      <dsp:spPr>
        <a:xfrm rot="10800000">
          <a:off x="1371370" y="3955138"/>
          <a:ext cx="7772859" cy="761135"/>
        </a:xfrm>
        <a:prstGeom prst="homePlate">
          <a:avLst/>
        </a:prstGeom>
        <a:solidFill>
          <a:schemeClr val="accent5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35640" tIns="106680" rIns="199136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kern="1200" dirty="0"/>
            <a:t>Social/Demo: Meet affordability challenges</a:t>
          </a:r>
        </a:p>
      </dsp:txBody>
      <dsp:txXfrm rot="10800000">
        <a:off x="1561654" y="3955138"/>
        <a:ext cx="7582575" cy="761135"/>
      </dsp:txXfrm>
    </dsp:sp>
    <dsp:sp modelId="{FE1B9F58-B034-43FB-86AB-6CC6043F8BFB}">
      <dsp:nvSpPr>
        <dsp:cNvPr id="0" name=""/>
        <dsp:cNvSpPr/>
      </dsp:nvSpPr>
      <dsp:spPr>
        <a:xfrm>
          <a:off x="709282" y="3926565"/>
          <a:ext cx="761135" cy="761135"/>
        </a:xfrm>
        <a:prstGeom prst="ellipse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39D249E-8E10-47B3-8B8F-5644CD55957F}">
      <dsp:nvSpPr>
        <dsp:cNvPr id="0" name=""/>
        <dsp:cNvSpPr/>
      </dsp:nvSpPr>
      <dsp:spPr>
        <a:xfrm>
          <a:off x="0" y="18811"/>
          <a:ext cx="3752754" cy="91367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 dirty="0"/>
            <a:t>David LaFrance, CEO</a:t>
          </a:r>
        </a:p>
      </dsp:txBody>
      <dsp:txXfrm>
        <a:off x="44602" y="63413"/>
        <a:ext cx="3663550" cy="824474"/>
      </dsp:txXfrm>
    </dsp:sp>
    <dsp:sp modelId="{93798BBC-8126-4961-8129-CAA63FB4BE7C}">
      <dsp:nvSpPr>
        <dsp:cNvPr id="0" name=""/>
        <dsp:cNvSpPr/>
      </dsp:nvSpPr>
      <dsp:spPr>
        <a:xfrm>
          <a:off x="0" y="998729"/>
          <a:ext cx="3752754" cy="91367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/>
            <a:t>American Water Works Association</a:t>
          </a:r>
        </a:p>
      </dsp:txBody>
      <dsp:txXfrm>
        <a:off x="44602" y="1043331"/>
        <a:ext cx="3663550" cy="824474"/>
      </dsp:txXfrm>
    </dsp:sp>
    <dsp:sp modelId="{186E5AC7-EB60-4943-A0DC-96CE50A93698}">
      <dsp:nvSpPr>
        <dsp:cNvPr id="0" name=""/>
        <dsp:cNvSpPr/>
      </dsp:nvSpPr>
      <dsp:spPr>
        <a:xfrm>
          <a:off x="0" y="1978648"/>
          <a:ext cx="3752754" cy="913678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/>
            <a:t>Email: dlafrance@awwa.org</a:t>
          </a:r>
        </a:p>
      </dsp:txBody>
      <dsp:txXfrm>
        <a:off x="44602" y="2023250"/>
        <a:ext cx="3663550" cy="82447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1/layout/CircleProcess">
  <dgm:title val="Circle Process"/>
  <dgm:desc val="Use to show sequential steps in a process. Limited to eleven Level 1 shapes with an unlimited number of Level 2 shapes. Works best with small amounts of text. Unused text does not appear, but remains available if you switch layouts."/>
  <dgm:catLst>
    <dgm:cat type="process" pri="8500"/>
    <dgm:cat type="officeonline" pri="85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11"/>
      <dgm:chPref val="11"/>
      <dgm:dir/>
      <dgm:resizeHandles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5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Parent2" refType="w" fact="0.6249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l" for="ch" forName="Parent1" refType="w" fact="0.1597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l" for="ch" forName="Accent2" refType="w" fact="0.5498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l" for="ch" forName="ParentBackground2" refType="w" fact="0.5648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l" for="ch" forName="Child2" refType="w" fact="0.5648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l" for="ch" forName="Accent1" refType="w" fact="-0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l" for="ch" forName="ParentBackground1" refType="w" fact="0.0997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l" for="ch" forName="Child1" refType="w" fact="0.0997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6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Parent3" refType="w" fact="0.744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l" for="ch" forName="Parent2" refType="w" fact="0.426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l" for="ch" forName="Parent1" refType="w" fact="0.109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l" for="ch" forName="Accent3" refType="w" fact="0.6928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l" for="ch" forName="ParentBackground3" refType="w" fact="0.703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l" for="ch" forName="Child3" refType="w" fact="0.703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l" for="ch" forName="Accent2" refType="w" fact="0.3122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l" for="ch" forName="ParentBackground2" refType="w" fact="0.385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l" for="ch" forName="Child2" refType="w" fact="0.385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l" for="ch" forName="Accent1" refType="w" fact="-0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l" for="ch" forName="ParentBackground1" refType="w" fact="0.068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l" for="ch" forName="Child1" refType="w" fact="0.068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7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Parent4" refType="w" fact="0.8057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l" for="ch" forName="Parent3" refType="w" fact="0.5647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l" for="ch" forName="Parent2" refType="w" fact="0.3237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l" for="ch" forName="Parent1" refType="w" fact="0.0827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l" for="ch" forName="Accent4" refType="w" fact="0.7668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l" for="ch" forName="ParentBackground4" refType="w" fact="0.7746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l" for="ch" forName="Child4" refType="w" fact="0.7746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l" for="ch" forName="Accent3" refType="w" fact="0.476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l" for="ch" forName="ParentBackground3" refType="w" fact="0.5336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l" for="ch" forName="Child3" refType="w" fact="0.5336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l" for="ch" forName="Accent2" refType="w" fact="0.236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l" for="ch" forName="ParentBackground2" refType="w" fact="0.2926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l" for="ch" forName="Child2" refType="w" fact="0.2926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l" for="ch" forName="Accent1" refType="w" fact="-0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l" for="ch" forName="ParentBackground1" refType="w" fact="0.0516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l" for="ch" forName="Child1" refType="w" fact="0.0516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8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Parent5" refType="w" fact="0.8434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l" for="ch" forName="Parent4" refType="w" fact="0.6492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l" for="ch" forName="Parent3" refType="w" fact="0.45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l" for="ch" forName="Parent2" refType="w" fact="0.2609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l" for="ch" forName="Parent1" refType="w" fact="0.0667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l" for="ch" forName="Accent5" refType="w" fact="0.8121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l" for="ch" forName="ParentBackground5" refType="w" fact="0.8183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l" for="ch" forName="Child5" refType="w" fact="0.8183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l" for="ch" forName="Accent4" refType="w" fact="0.5789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l" for="ch" forName="ParentBackground4" refType="w" fact="0.6242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l" for="ch" forName="Child4" refType="w" fact="0.6242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l" for="ch" forName="Accent3" refType="w" fact="0.3848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l" for="ch" forName="ParentBackground3" refType="w" fact="0.43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l" for="ch" forName="Child3" refType="w" fact="0.43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l" for="ch" forName="Accent2" refType="w" fact="0.1906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l" for="ch" forName="ParentBackground2" refType="w" fact="0.2358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l" for="ch" forName="Child2" refType="w" fact="0.2358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l" for="ch" forName="Accent1" refType="w" fact="-0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l" for="ch" forName="ParentBackground1" refType="w" fact="0.0416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l" for="ch" forName="Child1" refType="w" fact="0.0416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9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Parent6" refType="w" fact="0.8689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l" for="ch" forName="Parent5" refType="w" fact="0.7063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l" for="ch" forName="Parent4" refType="w" fact="0.5437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l" for="ch" forName="Parent3" refType="w" fact="0.381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l" for="ch" forName="Parent2" refType="w" fact="0.2184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l" for="ch" forName="Parent1" refType="w" fact="0.0558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l" for="ch" forName="Accent6" refType="w" fact="0.8426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l" for="ch" forName="ParentBackground6" refType="w" fact="0.8479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l" for="ch" forName="Child6" refType="w" fact="0.8479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l" for="ch" forName="Accent5" refType="w" fact="0.6474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l" for="ch" forName="ParentBackground5" refType="w" fact="0.6853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l" for="ch" forName="Child5" refType="w" fact="0.6853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l" for="ch" forName="Accent4" refType="w" fact="0.4848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l" for="ch" forName="ParentBackground4" refType="w" fact="0.5227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l" for="ch" forName="Child4" refType="w" fact="0.5227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l" for="ch" forName="Accent3" refType="w" fact="0.3222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l" for="ch" forName="ParentBackground3" refType="w" fact="0.3601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l" for="ch" forName="Child3" refType="w" fact="0.3601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l" for="ch" forName="Accent2" refType="w" fact="0.1596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l" for="ch" forName="ParentBackground2" refType="w" fact="0.197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l" for="ch" forName="Child2" refType="w" fact="0.197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l" for="ch" forName="Accent1" refType="w" fact="-0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l" for="ch" forName="ParentBackground1" refType="w" fact="0.0348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l" for="ch" forName="Child1" refType="w" fact="0.0348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10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Parent7" refType="w" fact="0.8872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l" for="ch" forName="Parent6" refType="w" fact="0.7473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l" for="ch" forName="Parent5" refType="w" fact="0.607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l" for="ch" forName="Parent4" refType="w" fact="0.4676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l" for="ch" forName="Parent3" refType="w" fact="0.3277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l" for="ch" forName="Parent2" refType="w" fact="0.1879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l" for="ch" forName="Parent1" refType="w" fact="0.048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l" for="ch" forName="Accent7" refType="w" fact="0.8646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l" for="ch" forName="ParentBackground7" refType="w" fact="0.8692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l" for="ch" forName="Child7" refType="w" fact="0.8692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l" for="ch" forName="Accent6" refType="w" fact="0.6967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l" for="ch" forName="ParentBackground6" refType="w" fact="0.7293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l" for="ch" forName="Child6" refType="w" fact="0.7293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l" for="ch" forName="Accent5" refType="w" fact="0.5569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l" for="ch" forName="ParentBackground5" refType="w" fact="0.5894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l" for="ch" forName="Child5" refType="w" fact="0.5894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l" for="ch" forName="Accent4" refType="w" fact="0.417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l" for="ch" forName="ParentBackground4" refType="w" fact="0.4496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l" for="ch" forName="Child4" refType="w" fact="0.4496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l" for="ch" forName="Accent3" refType="w" fact="0.2771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l" for="ch" forName="ParentBackground3" refType="w" fact="0.3097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l" for="ch" forName="Child3" refType="w" fact="0.3097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l" for="ch" forName="Accent2" refType="w" fact="0.1373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l" for="ch" forName="ParentBackground2" refType="w" fact="0.1698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l" for="ch" forName="Child2" refType="w" fact="0.1698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l" for="ch" forName="Accent1" refType="w" fact="-0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l" for="ch" forName="ParentBackground1" refType="w" fact="0.03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l" for="ch" forName="Child1" refType="w" fact="0.03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11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l" for="ch" forName="Parent8" refType="w" fact="0.901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l" for="ch" forName="Parent7" refType="w" fact="0.7783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l" for="ch" forName="Parent6" refType="w" fact="0.6556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l" for="ch" forName="Parent5" refType="w" fact="0.5329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l" for="ch" forName="Parent4" refType="w" fact="0.4102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l" for="ch" forName="Parent3" refType="w" fact="0.287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l" for="ch" forName="Parent2" refType="w" fact="0.1648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l" for="ch" forName="Parent1" refType="w" fact="0.0421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l" for="ch" forName="Accent8" refType="w" fact="0.8813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l" for="ch" forName="ParentBackground8" refType="w" fact="0.8852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l" for="ch" forName="Child8" refType="w" fact="0.8852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l" for="ch" forName="Accent7" refType="w" fact="0.7339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l" for="ch" forName="ParentBackground7" refType="w" fact="0.762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l" for="ch" forName="Child7" refType="w" fact="0.762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l" for="ch" forName="Accent6" refType="w" fact="0.6112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l" for="ch" forName="ParentBackground6" refType="w" fact="0.6398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l" for="ch" forName="Child6" refType="w" fact="0.6398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l" for="ch" forName="Accent5" refType="w" fact="0.488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l" for="ch" forName="ParentBackground5" refType="w" fact="0.5171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l" for="ch" forName="Child5" refType="w" fact="0.5171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l" for="ch" forName="Accent4" refType="w" fact="0.3658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l" for="ch" forName="ParentBackground4" refType="w" fact="0.3944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l" for="ch" forName="Child4" refType="w" fact="0.3944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l" for="ch" forName="Accent3" refType="w" fact="0.2431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l" for="ch" forName="ParentBackground3" refType="w" fact="0.2717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l" for="ch" forName="Child3" refType="w" fact="0.2717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l" for="ch" forName="Accent2" refType="w" fact="0.1204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l" for="ch" forName="ParentBackground2" refType="w" fact="0.149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l" for="ch" forName="Child2" refType="w" fact="0.149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l" for="ch" forName="Accent1" refType="w" fact="-0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l" for="ch" forName="ParentBackground1" refType="w" fact="0.0263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l" for="ch" forName="Child1" refType="w" fact="0.0263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12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l" for="ch" forName="Parent9" refType="w" fact="0.9119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l" for="ch" forName="Parent8" refType="w" fact="0.8026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l" for="ch" forName="Parent7" refType="w" fact="0.6933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l" for="ch" forName="Parent6" refType="w" fact="0.584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l" for="ch" forName="Parent5" refType="w" fact="0.4747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l" for="ch" forName="Parent4" refType="w" fact="0.3654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l" for="ch" forName="Parent3" refType="w" fact="0.2561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l" for="ch" forName="Parent2" refType="w" fact="0.1468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l" for="ch" forName="Parent1" refType="w" fact="0.037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l" for="ch" forName="Accent9" refType="w" fact="0.8942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l" for="ch" forName="ParentBackground9" refType="w" fact="0.8978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l" for="ch" forName="Child9" refType="w" fact="0.8978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l" for="ch" forName="Accent8" refType="w" fact="0.763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l" for="ch" forName="ParentBackground8" refType="w" fact="0.788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l" for="ch" forName="Child8" refType="w" fact="0.788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l" for="ch" forName="Accent7" refType="w" fact="0.6538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l" for="ch" forName="ParentBackground7" refType="w" fact="0.6792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l" for="ch" forName="Child7" refType="w" fact="0.6792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l" for="ch" forName="Accent6" refType="w" fact="0.544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l" for="ch" forName="ParentBackground6" refType="w" fact="0.5699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l" for="ch" forName="Child6" refType="w" fact="0.5699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l" for="ch" forName="Accent5" refType="w" fact="0.4352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l" for="ch" forName="ParentBackground5" refType="w" fact="0.4606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l" for="ch" forName="Child5" refType="w" fact="0.4606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l" for="ch" forName="Accent4" refType="w" fact="0.3259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l" for="ch" forName="ParentBackground4" refType="w" fact="0.3513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l" for="ch" forName="Child4" refType="w" fact="0.3513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l" for="ch" forName="Accent3" refType="w" fact="0.2166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l" for="ch" forName="ParentBackground3" refType="w" fact="0.242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l" for="ch" forName="Child3" refType="w" fact="0.242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l" for="ch" forName="Accent2" refType="w" fact="0.1073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l" for="ch" forName="ParentBackground2" refType="w" fact="0.1327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l" for="ch" forName="Child2" refType="w" fact="0.1327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l" for="ch" forName="Accent1" refType="w" fact="-0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l" for="ch" forName="ParentBackground1" refType="w" fact="0.0234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l" for="ch" forName="Child1" refType="w" fact="0.0234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13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l" for="ch" forName="Parent10" refType="w" fact="0.920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l" for="ch" forName="Parent9" refType="w" fact="0.822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l" for="ch" forName="Parent8" refType="w" fact="0.723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l" for="ch" forName="Parent7" refType="w" fact="0.62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l" for="ch" forName="Parent6" refType="w" fact="0.5264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l" for="ch" forName="Parent5" refType="w" fact="0.4279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l" for="ch" forName="Parent4" refType="w" fact="0.3294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l" for="ch" forName="Parent3" refType="w" fact="0.2309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l" for="ch" forName="Parent2" refType="w" fact="0.1324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l" for="ch" forName="Parent1" refType="w" fact="0.0338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l" for="ch" forName="Accent10" refType="w" fact="0.9047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l" for="ch" forName="ParentBackground10" refType="w" fact="0.9078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l" for="ch" forName="Child10" refType="w" fact="0.9078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l" for="ch" forName="Accent9" refType="w" fact="0.7864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l" for="ch" forName="ParentBackground9" refType="w" fact="0.8093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l" for="ch" forName="Child9" refType="w" fact="0.8093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l" for="ch" forName="Accent8" refType="w" fact="0.6879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l" for="ch" forName="ParentBackground8" refType="w" fact="0.7108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l" for="ch" forName="Child8" refType="w" fact="0.7108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l" for="ch" forName="Accent7" refType="w" fact="0.5893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l" for="ch" forName="ParentBackground7" refType="w" fact="0.6123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l" for="ch" forName="Child7" refType="w" fact="0.6123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l" for="ch" forName="Accent6" refType="w" fact="0.4908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l" for="ch" forName="ParentBackground6" refType="w" fact="0.5137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l" for="ch" forName="Child6" refType="w" fact="0.5137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l" for="ch" forName="Accent5" refType="w" fact="0.3923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l" for="ch" forName="ParentBackground5" refType="w" fact="0.4152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l" for="ch" forName="Child5" refType="w" fact="0.4152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l" for="ch" forName="Accent4" refType="w" fact="0.2938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l" for="ch" forName="ParentBackground4" refType="w" fact="0.3167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l" for="ch" forName="Child4" refType="w" fact="0.3167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l" for="ch" forName="Accent3" refType="w" fact="0.1952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l" for="ch" forName="ParentBackground3" refType="w" fact="0.2182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l" for="ch" forName="Child3" refType="w" fact="0.2182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l" for="ch" forName="Accent2" refType="w" fact="0.0967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l" for="ch" forName="ParentBackground2" refType="w" fact="0.1196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l" for="ch" forName="Child2" refType="w" fact="0.1196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l" for="ch" forName="Accent1" refType="w" fact="-0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l" for="ch" forName="ParentBackground1" refType="w" fact="0.0211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l" for="ch" forName="Child1" refType="w" fact="0.0211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14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l" for="ch" forName="Parent11" refType="w" fact="0.9277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l" for="ch" forName="Parent10" refType="w" fact="0.838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l" for="ch" forName="Parent9" refType="w" fact="0.7483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l" for="ch" forName="Parent8" refType="w" fact="0.6586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l" for="ch" forName="Parent7" refType="w" fact="0.5689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l" for="ch" forName="Parent6" refType="w" fact="0.4792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l" for="ch" forName="Parent5" refType="w" fact="0.389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l" for="ch" forName="Parent4" refType="w" fact="0.2999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l" for="ch" forName="Parent3" refType="w" fact="0.2102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l" for="ch" forName="Parent2" refType="w" fact="0.120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l" for="ch" forName="Parent1" refType="w" fact="0.0308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l" for="ch" forName="Accent11" refType="w" fact="0.9132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l" for="ch" forName="ParentBackground11" refType="w" fact="0.9161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l" for="ch" forName="Child11" refType="w" fact="0.9161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l" for="ch" forName="Accent10" refType="w" fact="0.805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l" for="ch" forName="ParentBackground10" refType="w" fact="0.8264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l" for="ch" forName="Child10" refType="w" fact="0.8264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l" for="ch" forName="Accent9" refType="w" fact="0.7158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l" for="ch" forName="ParentBackground9" refType="w" fact="0.7367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l" for="ch" forName="Child9" refType="w" fact="0.7367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l" for="ch" forName="Accent8" refType="w" fact="0.6261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l" for="ch" forName="ParentBackground8" refType="w" fact="0.647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l" for="ch" forName="Child8" refType="w" fact="0.647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l" for="ch" forName="Accent7" refType="w" fact="0.5364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l" for="ch" forName="ParentBackground7" refType="w" fact="0.5573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l" for="ch" forName="Child7" refType="w" fact="0.5573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l" for="ch" forName="Accent6" refType="w" fact="0.4467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l" for="ch" forName="ParentBackground6" refType="w" fact="0.4677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l" for="ch" forName="Child6" refType="w" fact="0.4677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l" for="ch" forName="Accent5" refType="w" fact="0.3571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l" for="ch" forName="ParentBackground5" refType="w" fact="0.378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l" for="ch" forName="Child5" refType="w" fact="0.378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l" for="ch" forName="Accent4" refType="w" fact="0.2674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l" for="ch" forName="ParentBackground4" refType="w" fact="0.2883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l" for="ch" forName="Child4" refType="w" fact="0.2883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l" for="ch" forName="Accent3" refType="w" fact="0.1777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l" for="ch" forName="ParentBackground3" refType="w" fact="0.1986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l" for="ch" forName="Child3" refType="w" fact="0.1986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l" for="ch" forName="Accent2" refType="w" fact="0.088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l" for="ch" forName="ParentBackground2" refType="w" fact="0.1089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l" for="ch" forName="Child2" refType="w" fact="0.1089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l" for="ch" forName="Accent1" refType="w" fact="-0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l" for="ch" forName="ParentBackground1" refType="w" fact="0.0192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l" for="ch" forName="Child1" refType="w" fact="0.0192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if>
      <dgm:else name="Name15">
        <dgm:choose name="Name16">
          <dgm:if name="Name17" axis="ch" ptType="node" func="cnt" op="equ" val="1">
            <dgm:alg type="composite">
              <dgm:param type="ar" val="0.638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Parent1" refType="w" fact="0.1667"/>
              <dgm:constr type="t" for="ch" forName="Parent1" refType="h" fact="0.1064"/>
              <dgm:constr type="w" for="ch" forName="Parent1" refType="w" fact="0.6667"/>
              <dgm:constr type="h" for="ch" forName="Parent1" refType="h" fact="0.4255"/>
              <dgm:constr type="l" for="ch" forName="Accent1" refType="w" fact="0"/>
              <dgm:constr type="t" for="ch" forName="Accent1" refType="h" fact="0"/>
              <dgm:constr type="w" for="ch" forName="Accent1" refType="w"/>
              <dgm:constr type="h" for="ch" forName="Accent1" refType="h" fact="0.6383"/>
              <dgm:constr type="l" for="ch" forName="ParentBackground1" refType="w" fact="0.0333"/>
              <dgm:constr type="t" for="ch" forName="ParentBackground1" refType="h" fact="0.0213"/>
              <dgm:constr type="w" for="ch" forName="ParentBackground1" refType="w" fact="0.9333"/>
              <dgm:constr type="h" for="ch" forName="ParentBackground1" refType="h" fact="0.5957"/>
              <dgm:constr type="l" for="ch" forName="Child1" refType="w" fact="0.0333"/>
              <dgm:constr type="t" for="ch" forName="Child1" refType="h" fact="0.6574"/>
              <dgm:constr type="w" for="ch" forName="Child1" refType="w" fact="0.9333"/>
              <dgm:constr type="h" for="ch" forName="Child1" refType="h" fact="0.3426"/>
            </dgm:constrLst>
          </dgm:if>
          <dgm:if name="Name18" axis="ch" ptType="node" func="cnt" op="equ" val="2">
            <dgm:alg type="composite">
              <dgm:param type="ar" val="1.265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r" for="ch" forName="Parent2" refType="w" fact="0.3751"/>
              <dgm:constr type="t" for="ch" forName="Parent2" refType="h" fact="0.2022"/>
              <dgm:constr type="w" for="ch" forName="Parent2" refType="w" fact="0.3001"/>
              <dgm:constr type="h" for="ch" forName="Parent2" refType="h" fact="0.3799"/>
              <dgm:constr type="r" for="ch" forName="Parent1" refType="w" fact="0.8403"/>
              <dgm:constr type="t" for="ch" forName="Parent1" refType="h" fact="0.2022"/>
              <dgm:constr type="w" for="ch" forName="Parent1" refType="w" fact="0.3001"/>
              <dgm:constr type="h" for="ch" forName="Parent1" refType="h" fact="0.3799"/>
              <dgm:constr type="r" for="ch" forName="Accent2" refType="w" fact="0.4502"/>
              <dgm:constr type="t" for="ch" forName="Accent2" refType="h" fact="0.1072"/>
              <dgm:constr type="w" for="ch" forName="Accent2" refType="w" fact="0.4502"/>
              <dgm:constr type="h" for="ch" forName="Accent2" refType="h" fact="0.5699"/>
              <dgm:constr type="r" for="ch" forName="ParentBackground2" refType="w" fact="0.4352"/>
              <dgm:constr type="t" for="ch" forName="ParentBackground2" refType="h" fact="0.1262"/>
              <dgm:constr type="w" for="ch" forName="ParentBackground2" refType="w" fact="0.4201"/>
              <dgm:constr type="h" for="ch" forName="ParentBackground2" refType="h" fact="0.5319"/>
              <dgm:constr type="r" for="ch" forName="Child2" refType="w" fact="0.4352"/>
              <dgm:constr type="t" for="ch" forName="Child2" refType="h" fact="0.6876"/>
              <dgm:constr type="w" for="ch" forName="Child2" refType="w" fact="0.4201"/>
              <dgm:constr type="h" for="ch" forName="Child2" refType="h" fact="0.3124"/>
              <dgm:constr type="r" for="ch" forName="Accent1" refType="w" fact="1.0086"/>
              <dgm:constr type="t" for="ch" forName="Accent1" refType="h" fact="-0.0109"/>
              <dgm:constr type="w" for="ch" forName="Accent1" refType="w" fact="0.6367"/>
              <dgm:constr type="h" for="ch" forName="Accent1" refType="h" fact="0.806"/>
              <dgm:constr type="r" for="ch" forName="ParentBackground1" refType="w" fact="0.9003"/>
              <dgm:constr type="t" for="ch" forName="ParentBackground1" refType="h" fact="0.1262"/>
              <dgm:constr type="w" for="ch" forName="ParentBackground1" refType="w" fact="0.4201"/>
              <dgm:constr type="h" for="ch" forName="ParentBackground1" refType="h" fact="0.5319"/>
              <dgm:constr type="r" for="ch" forName="Child1" refType="w" fact="0.9003"/>
              <dgm:constr type="t" for="ch" forName="Child1" refType="h" fact="0.6876"/>
              <dgm:constr type="w" for="ch" forName="Child1" refType="w" fact="0.4201"/>
              <dgm:constr type="h" for="ch" forName="Child1" refType="h" fact="0.3124"/>
            </dgm:constrLst>
          </dgm:if>
          <dgm:if name="Name19" axis="ch" ptType="node" func="cnt" op="equ" val="3">
            <dgm:alg type="composite">
              <dgm:param type="ar" val="1.854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Parent3" refType="w" fact="0.256"/>
              <dgm:constr type="t" for="ch" forName="Parent3" refType="h" fact="0.2022"/>
              <dgm:constr type="w" for="ch" forName="Parent3" refType="w" fact="0.2048"/>
              <dgm:constr type="h" for="ch" forName="Parent3" refType="h" fact="0.3799"/>
              <dgm:constr type="r" for="ch" forName="Parent2" refType="w" fact="0.5735"/>
              <dgm:constr type="t" for="ch" forName="Parent2" refType="h" fact="0.2022"/>
              <dgm:constr type="w" for="ch" forName="Parent2" refType="w" fact="0.2048"/>
              <dgm:constr type="h" for="ch" forName="Parent2" refType="h" fact="0.3799"/>
              <dgm:constr type="r" for="ch" forName="Parent1" refType="w" fact="0.891"/>
              <dgm:constr type="t" for="ch" forName="Parent1" refType="h" fact="0.2022"/>
              <dgm:constr type="w" for="ch" forName="Parent1" refType="w" fact="0.2048"/>
              <dgm:constr type="h" for="ch" forName="Parent1" refType="h" fact="0.3799"/>
              <dgm:constr type="r" for="ch" forName="Accent3" refType="w" fact="0.3072"/>
              <dgm:constr type="t" for="ch" forName="Accent3" refType="h" fact="0.1072"/>
              <dgm:constr type="w" for="ch" forName="Accent3" refType="w" fact="0.3072"/>
              <dgm:constr type="h" for="ch" forName="Accent3" refType="h" fact="0.5699"/>
              <dgm:constr type="r" for="ch" forName="ParentBackground3" refType="w" fact="0.297"/>
              <dgm:constr type="t" for="ch" forName="ParentBackground3" refType="h" fact="0.1262"/>
              <dgm:constr type="w" for="ch" forName="ParentBackground3" refType="w" fact="0.2868"/>
              <dgm:constr type="h" for="ch" forName="ParentBackground3" refType="h" fact="0.5319"/>
              <dgm:constr type="r" for="ch" forName="Child3" refType="w" fact="0.297"/>
              <dgm:constr type="t" for="ch" forName="Child3" refType="h" fact="0.6876"/>
              <dgm:constr type="w" for="ch" forName="Child3" refType="w" fact="0.2868"/>
              <dgm:constr type="h" for="ch" forName="Child3" refType="h" fact="0.3124"/>
              <dgm:constr type="r" for="ch" forName="Accent2" refType="w" fact="0.6878"/>
              <dgm:constr type="t" for="ch" forName="Accent2" refType="h" fact="-0.0109"/>
              <dgm:constr type="w" for="ch" forName="Accent2" refType="w" fact="0.4334"/>
              <dgm:constr type="h" for="ch" forName="Accent2" refType="h" fact="0.806"/>
              <dgm:constr type="r" for="ch" forName="ParentBackground2" refType="w" fact="0.6145"/>
              <dgm:constr type="t" for="ch" forName="ParentBackground2" refType="h" fact="0.1262"/>
              <dgm:constr type="w" for="ch" forName="ParentBackground2" refType="w" fact="0.2868"/>
              <dgm:constr type="h" for="ch" forName="ParentBackground2" refType="h" fact="0.5319"/>
              <dgm:constr type="r" for="ch" forName="Child2" refType="w" fact="0.6145"/>
              <dgm:constr type="t" for="ch" forName="Child2" refType="h" fact="0.6876"/>
              <dgm:constr type="w" for="ch" forName="Child2" refType="w" fact="0.2868"/>
              <dgm:constr type="h" for="ch" forName="Child2" refType="h" fact="0.3124"/>
              <dgm:constr type="r" for="ch" forName="Accent1" refType="w" fact="1.0053"/>
              <dgm:constr type="t" for="ch" forName="Accent1" refType="h" fact="-0.0109"/>
              <dgm:constr type="w" for="ch" forName="Accent1" refType="w" fact="0.4334"/>
              <dgm:constr type="h" for="ch" forName="Accent1" refType="h" fact="0.806"/>
              <dgm:constr type="r" for="ch" forName="ParentBackground1" refType="w" fact="0.932"/>
              <dgm:constr type="t" for="ch" forName="ParentBackground1" refType="h" fact="0.1262"/>
              <dgm:constr type="w" for="ch" forName="ParentBackground1" refType="w" fact="0.2868"/>
              <dgm:constr type="h" for="ch" forName="ParentBackground1" refType="h" fact="0.5319"/>
              <dgm:constr type="r" for="ch" forName="Child1" refType="w" fact="0.932"/>
              <dgm:constr type="t" for="ch" forName="Child1" refType="h" fact="0.6876"/>
              <dgm:constr type="w" for="ch" forName="Child1" refType="w" fact="0.2868"/>
              <dgm:constr type="h" for="ch" forName="Child1" refType="h" fact="0.3124"/>
            </dgm:constrLst>
          </dgm:if>
          <dgm:if name="Name20" axis="ch" ptType="node" func="cnt" op="equ" val="4">
            <dgm:alg type="composite">
              <dgm:param type="ar" val="2.4437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Parent4" refType="w" fact="0.1943"/>
              <dgm:constr type="t" for="ch" forName="Parent4" refType="h" fact="0.2022"/>
              <dgm:constr type="w" for="ch" forName="Parent4" refType="w" fact="0.1555"/>
              <dgm:constr type="h" for="ch" forName="Parent4" refType="h" fact="0.3799"/>
              <dgm:constr type="r" for="ch" forName="Parent3" refType="w" fact="0.4353"/>
              <dgm:constr type="t" for="ch" forName="Parent3" refType="h" fact="0.2022"/>
              <dgm:constr type="w" for="ch" forName="Parent3" refType="w" fact="0.1555"/>
              <dgm:constr type="h" for="ch" forName="Parent3" refType="h" fact="0.3799"/>
              <dgm:constr type="r" for="ch" forName="Parent2" refType="w" fact="0.6763"/>
              <dgm:constr type="t" for="ch" forName="Parent2" refType="h" fact="0.2022"/>
              <dgm:constr type="w" for="ch" forName="Parent2" refType="w" fact="0.1555"/>
              <dgm:constr type="h" for="ch" forName="Parent2" refType="h" fact="0.3799"/>
              <dgm:constr type="r" for="ch" forName="Parent1" refType="w" fact="0.9173"/>
              <dgm:constr type="t" for="ch" forName="Parent1" refType="h" fact="0.2022"/>
              <dgm:constr type="w" for="ch" forName="Parent1" refType="w" fact="0.1555"/>
              <dgm:constr type="h" for="ch" forName="Parent1" refType="h" fact="0.3799"/>
              <dgm:constr type="r" for="ch" forName="Accent4" refType="w" fact="0.2332"/>
              <dgm:constr type="t" for="ch" forName="Accent4" refType="h" fact="0.1072"/>
              <dgm:constr type="w" for="ch" forName="Accent4" refType="w" fact="0.2332"/>
              <dgm:constr type="h" for="ch" forName="Accent4" refType="h" fact="0.5699"/>
              <dgm:constr type="r" for="ch" forName="ParentBackground4" refType="w" fact="0.2254"/>
              <dgm:constr type="t" for="ch" forName="ParentBackground4" refType="h" fact="0.1262"/>
              <dgm:constr type="w" for="ch" forName="ParentBackground4" refType="w" fact="0.2177"/>
              <dgm:constr type="h" for="ch" forName="ParentBackground4" refType="h" fact="0.5319"/>
              <dgm:constr type="r" for="ch" forName="Child4" refType="w" fact="0.2254"/>
              <dgm:constr type="t" for="ch" forName="Child4" refType="h" fact="0.6876"/>
              <dgm:constr type="w" for="ch" forName="Child4" refType="w" fact="0.2177"/>
              <dgm:constr type="h" for="ch" forName="Child4" refType="h" fact="0.3124"/>
              <dgm:constr type="r" for="ch" forName="Accent3" refType="w" fact="0.5235"/>
              <dgm:constr type="t" for="ch" forName="Accent3" refType="h" fact="-0.0109"/>
              <dgm:constr type="w" for="ch" forName="Accent3" refType="w" fact="0.3298"/>
              <dgm:constr type="h" for="ch" forName="Accent3" refType="h" fact="0.806"/>
              <dgm:constr type="r" for="ch" forName="ParentBackground3" refType="w" fact="0.4664"/>
              <dgm:constr type="t" for="ch" forName="ParentBackground3" refType="h" fact="0.1262"/>
              <dgm:constr type="w" for="ch" forName="ParentBackground3" refType="w" fact="0.2177"/>
              <dgm:constr type="h" for="ch" forName="ParentBackground3" refType="h" fact="0.5319"/>
              <dgm:constr type="r" for="ch" forName="Child3" refType="w" fact="0.4664"/>
              <dgm:constr type="t" for="ch" forName="Child3" refType="h" fact="0.6876"/>
              <dgm:constr type="w" for="ch" forName="Child3" refType="w" fact="0.2177"/>
              <dgm:constr type="h" for="ch" forName="Child3" refType="h" fact="0.3124"/>
              <dgm:constr type="r" for="ch" forName="Accent2" refType="w" fact="0.7635"/>
              <dgm:constr type="t" for="ch" forName="Accent2" refType="h" fact="-0.0109"/>
              <dgm:constr type="w" for="ch" forName="Accent2" refType="w" fact="0.3298"/>
              <dgm:constr type="h" for="ch" forName="Accent2" refType="h" fact="0.806"/>
              <dgm:constr type="r" for="ch" forName="ParentBackground2" refType="w" fact="0.7074"/>
              <dgm:constr type="t" for="ch" forName="ParentBackground2" refType="h" fact="0.1262"/>
              <dgm:constr type="w" for="ch" forName="ParentBackground2" refType="w" fact="0.2177"/>
              <dgm:constr type="h" for="ch" forName="ParentBackground2" refType="h" fact="0.5319"/>
              <dgm:constr type="r" for="ch" forName="Child2" refType="w" fact="0.7074"/>
              <dgm:constr type="t" for="ch" forName="Child2" refType="h" fact="0.6876"/>
              <dgm:constr type="w" for="ch" forName="Child2" refType="w" fact="0.2177"/>
              <dgm:constr type="h" for="ch" forName="Child2" refType="h" fact="0.3124"/>
              <dgm:constr type="r" for="ch" forName="Accent1" refType="w" fact="1.0045"/>
              <dgm:constr type="t" for="ch" forName="Accent1" refType="h" fact="-0.0109"/>
              <dgm:constr type="w" for="ch" forName="Accent1" refType="w" fact="0.3298"/>
              <dgm:constr type="h" for="ch" forName="Accent1" refType="h" fact="0.806"/>
              <dgm:constr type="r" for="ch" forName="ParentBackground1" refType="w" fact="0.9484"/>
              <dgm:constr type="t" for="ch" forName="ParentBackground1" refType="h" fact="0.1262"/>
              <dgm:constr type="w" for="ch" forName="ParentBackground1" refType="w" fact="0.2177"/>
              <dgm:constr type="h" for="ch" forName="ParentBackground1" refType="h" fact="0.5319"/>
              <dgm:constr type="r" for="ch" forName="Child1" refType="w" fact="0.9484"/>
              <dgm:constr type="t" for="ch" forName="Child1" refType="h" fact="0.6876"/>
              <dgm:constr type="w" for="ch" forName="Child1" refType="w" fact="0.2177"/>
              <dgm:constr type="h" for="ch" forName="Child1" refType="h" fact="0.3124"/>
            </dgm:constrLst>
          </dgm:if>
          <dgm:if name="Name21" axis="ch" ptType="node" func="cnt" op="equ" val="5">
            <dgm:alg type="composite">
              <dgm:param type="ar" val="3.0325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Parent5" refType="w" fact="0.1566"/>
              <dgm:constr type="t" for="ch" forName="Parent5" refType="h" fact="0.2022"/>
              <dgm:constr type="w" for="ch" forName="Parent5" refType="w" fact="0.1253"/>
              <dgm:constr type="h" for="ch" forName="Parent5" refType="h" fact="0.3799"/>
              <dgm:constr type="r" for="ch" forName="Parent4" refType="w" fact="0.3508"/>
              <dgm:constr type="t" for="ch" forName="Parent4" refType="h" fact="0.2022"/>
              <dgm:constr type="w" for="ch" forName="Parent4" refType="w" fact="0.1253"/>
              <dgm:constr type="h" for="ch" forName="Parent4" refType="h" fact="0.3799"/>
              <dgm:constr type="r" for="ch" forName="Parent3" refType="w" fact="0.545"/>
              <dgm:constr type="t" for="ch" forName="Parent3" refType="h" fact="0.2022"/>
              <dgm:constr type="w" for="ch" forName="Parent3" refType="w" fact="0.1253"/>
              <dgm:constr type="h" for="ch" forName="Parent3" refType="h" fact="0.3799"/>
              <dgm:constr type="r" for="ch" forName="Parent2" refType="w" fact="0.7391"/>
              <dgm:constr type="t" for="ch" forName="Parent2" refType="h" fact="0.2022"/>
              <dgm:constr type="w" for="ch" forName="Parent2" refType="w" fact="0.1253"/>
              <dgm:constr type="h" for="ch" forName="Parent2" refType="h" fact="0.3799"/>
              <dgm:constr type="r" for="ch" forName="Parent1" refType="w" fact="0.9333"/>
              <dgm:constr type="t" for="ch" forName="Parent1" refType="h" fact="0.2022"/>
              <dgm:constr type="w" for="ch" forName="Parent1" refType="w" fact="0.1253"/>
              <dgm:constr type="h" for="ch" forName="Parent1" refType="h" fact="0.3799"/>
              <dgm:constr type="r" for="ch" forName="Accent5" refType="w" fact="0.1879"/>
              <dgm:constr type="t" for="ch" forName="Accent5" refType="h" fact="0.1072"/>
              <dgm:constr type="w" for="ch" forName="Accent5" refType="w" fact="0.1879"/>
              <dgm:constr type="h" for="ch" forName="Accent5" refType="h" fact="0.5699"/>
              <dgm:constr type="r" for="ch" forName="ParentBackground5" refType="w" fact="0.1817"/>
              <dgm:constr type="t" for="ch" forName="ParentBackground5" refType="h" fact="0.1262"/>
              <dgm:constr type="w" for="ch" forName="ParentBackground5" refType="w" fact="0.1754"/>
              <dgm:constr type="h" for="ch" forName="ParentBackground5" refType="h" fact="0.5319"/>
              <dgm:constr type="r" for="ch" forName="Child5" refType="w" fact="0.1817"/>
              <dgm:constr type="t" for="ch" forName="Child5" refType="h" fact="0.6876"/>
              <dgm:constr type="w" for="ch" forName="Child5" refType="w" fact="0.1754"/>
              <dgm:constr type="h" for="ch" forName="Child5" refType="h" fact="0.3124"/>
              <dgm:constr type="r" for="ch" forName="Accent4" refType="w" fact="0.4211"/>
              <dgm:constr type="t" for="ch" forName="Accent4" refType="h" fact="-0.0109"/>
              <dgm:constr type="w" for="ch" forName="Accent4" refType="w" fact="0.2657"/>
              <dgm:constr type="h" for="ch" forName="Accent4" refType="h" fact="0.806"/>
              <dgm:constr type="r" for="ch" forName="ParentBackground4" refType="w" fact="0.3758"/>
              <dgm:constr type="t" for="ch" forName="ParentBackground4" refType="h" fact="0.1262"/>
              <dgm:constr type="w" for="ch" forName="ParentBackground4" refType="w" fact="0.1754"/>
              <dgm:constr type="h" for="ch" forName="ParentBackground4" refType="h" fact="0.5319"/>
              <dgm:constr type="r" for="ch" forName="Child4" refType="w" fact="0.3758"/>
              <dgm:constr type="t" for="ch" forName="Child4" refType="h" fact="0.6876"/>
              <dgm:constr type="w" for="ch" forName="Child4" refType="w" fact="0.1754"/>
              <dgm:constr type="h" for="ch" forName="Child4" refType="h" fact="0.3124"/>
              <dgm:constr type="r" for="ch" forName="Accent3" refType="w" fact="0.6152"/>
              <dgm:constr type="t" for="ch" forName="Accent3" refType="h" fact="-0.0109"/>
              <dgm:constr type="w" for="ch" forName="Accent3" refType="w" fact="0.2657"/>
              <dgm:constr type="h" for="ch" forName="Accent3" refType="h" fact="0.806"/>
              <dgm:constr type="r" for="ch" forName="ParentBackground3" refType="w" fact="0.57"/>
              <dgm:constr type="t" for="ch" forName="ParentBackground3" refType="h" fact="0.1262"/>
              <dgm:constr type="w" for="ch" forName="ParentBackground3" refType="w" fact="0.1754"/>
              <dgm:constr type="h" for="ch" forName="ParentBackground3" refType="h" fact="0.5319"/>
              <dgm:constr type="r" for="ch" forName="Child3" refType="w" fact="0.57"/>
              <dgm:constr type="t" for="ch" forName="Child3" refType="h" fact="0.6876"/>
              <dgm:constr type="w" for="ch" forName="Child3" refType="w" fact="0.1754"/>
              <dgm:constr type="h" for="ch" forName="Child3" refType="h" fact="0.3124"/>
              <dgm:constr type="r" for="ch" forName="Accent2" refType="w" fact="0.8094"/>
              <dgm:constr type="t" for="ch" forName="Accent2" refType="h" fact="-0.0109"/>
              <dgm:constr type="w" for="ch" forName="Accent2" refType="w" fact="0.2657"/>
              <dgm:constr type="h" for="ch" forName="Accent2" refType="h" fact="0.806"/>
              <dgm:constr type="r" for="ch" forName="ParentBackground2" refType="w" fact="0.7642"/>
              <dgm:constr type="t" for="ch" forName="ParentBackground2" refType="h" fact="0.1262"/>
              <dgm:constr type="w" for="ch" forName="ParentBackground2" refType="w" fact="0.1754"/>
              <dgm:constr type="h" for="ch" forName="ParentBackground2" refType="h" fact="0.5319"/>
              <dgm:constr type="r" for="ch" forName="Child2" refType="w" fact="0.7642"/>
              <dgm:constr type="t" for="ch" forName="Child2" refType="h" fact="0.6876"/>
              <dgm:constr type="w" for="ch" forName="Child2" refType="w" fact="0.1754"/>
              <dgm:constr type="h" for="ch" forName="Child2" refType="h" fact="0.3124"/>
              <dgm:constr type="r" for="ch" forName="Accent1" refType="w" fact="1.0036"/>
              <dgm:constr type="t" for="ch" forName="Accent1" refType="h" fact="-0.0109"/>
              <dgm:constr type="w" for="ch" forName="Accent1" refType="w" fact="0.2657"/>
              <dgm:constr type="h" for="ch" forName="Accent1" refType="h" fact="0.806"/>
              <dgm:constr type="r" for="ch" forName="ParentBackground1" refType="w" fact="0.9584"/>
              <dgm:constr type="t" for="ch" forName="ParentBackground1" refType="h" fact="0.1262"/>
              <dgm:constr type="w" for="ch" forName="ParentBackground1" refType="w" fact="0.1754"/>
              <dgm:constr type="h" for="ch" forName="ParentBackground1" refType="h" fact="0.5319"/>
              <dgm:constr type="r" for="ch" forName="Child1" refType="w" fact="0.9584"/>
              <dgm:constr type="t" for="ch" forName="Child1" refType="h" fact="0.6876"/>
              <dgm:constr type="w" for="ch" forName="Child1" refType="w" fact="0.1754"/>
              <dgm:constr type="h" for="ch" forName="Child1" refType="h" fact="0.3124"/>
            </dgm:constrLst>
          </dgm:if>
          <dgm:if name="Name22" axis="ch" ptType="node" func="cnt" op="equ" val="6">
            <dgm:alg type="composite">
              <dgm:param type="ar" val="3.621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r" for="ch" forName="Parent6" refType="w" fact="0.1311"/>
              <dgm:constr type="t" for="ch" forName="Parent6" refType="h" fact="0.2022"/>
              <dgm:constr type="w" for="ch" forName="Parent6" refType="w" fact="0.1049"/>
              <dgm:constr type="h" for="ch" forName="Parent6" refType="h" fact="0.3799"/>
              <dgm:constr type="r" for="ch" forName="Parent5" refType="w" fact="0.2937"/>
              <dgm:constr type="t" for="ch" forName="Parent5" refType="h" fact="0.2022"/>
              <dgm:constr type="w" for="ch" forName="Parent5" refType="w" fact="0.1049"/>
              <dgm:constr type="h" for="ch" forName="Parent5" refType="h" fact="0.3799"/>
              <dgm:constr type="r" for="ch" forName="Parent4" refType="w" fact="0.4563"/>
              <dgm:constr type="t" for="ch" forName="Parent4" refType="h" fact="0.2022"/>
              <dgm:constr type="w" for="ch" forName="Parent4" refType="w" fact="0.1049"/>
              <dgm:constr type="h" for="ch" forName="Parent4" refType="h" fact="0.3799"/>
              <dgm:constr type="r" for="ch" forName="Parent3" refType="w" fact="0.619"/>
              <dgm:constr type="t" for="ch" forName="Parent3" refType="h" fact="0.2022"/>
              <dgm:constr type="w" for="ch" forName="Parent3" refType="w" fact="0.1049"/>
              <dgm:constr type="h" for="ch" forName="Parent3" refType="h" fact="0.3799"/>
              <dgm:constr type="r" for="ch" forName="Parent2" refType="w" fact="0.7816"/>
              <dgm:constr type="t" for="ch" forName="Parent2" refType="h" fact="0.2022"/>
              <dgm:constr type="w" for="ch" forName="Parent2" refType="w" fact="0.1049"/>
              <dgm:constr type="h" for="ch" forName="Parent2" refType="h" fact="0.3799"/>
              <dgm:constr type="r" for="ch" forName="Parent1" refType="w" fact="0.9442"/>
              <dgm:constr type="t" for="ch" forName="Parent1" refType="h" fact="0.2022"/>
              <dgm:constr type="w" for="ch" forName="Parent1" refType="w" fact="0.1049"/>
              <dgm:constr type="h" for="ch" forName="Parent1" refType="h" fact="0.3799"/>
              <dgm:constr type="r" for="ch" forName="Accent6" refType="w" fact="0.1574"/>
              <dgm:constr type="t" for="ch" forName="Accent6" refType="h" fact="0.1072"/>
              <dgm:constr type="w" for="ch" forName="Accent6" refType="w" fact="0.1574"/>
              <dgm:constr type="h" for="ch" forName="Accent6" refType="h" fact="0.5699"/>
              <dgm:constr type="r" for="ch" forName="ParentBackground6" refType="w" fact="0.1521"/>
              <dgm:constr type="t" for="ch" forName="ParentBackground6" refType="h" fact="0.1262"/>
              <dgm:constr type="w" for="ch" forName="ParentBackground6" refType="w" fact="0.1469"/>
              <dgm:constr type="h" for="ch" forName="ParentBackground6" refType="h" fact="0.5319"/>
              <dgm:constr type="r" for="ch" forName="Child6" refType="w" fact="0.1521"/>
              <dgm:constr type="t" for="ch" forName="Child6" refType="h" fact="0.6876"/>
              <dgm:constr type="w" for="ch" forName="Child6" refType="w" fact="0.1469"/>
              <dgm:constr type="h" for="ch" forName="Child6" refType="h" fact="0.3124"/>
              <dgm:constr type="r" for="ch" forName="Accent5" refType="w" fact="0.3526"/>
              <dgm:constr type="t" for="ch" forName="Accent5" refType="h" fact="-0.0109"/>
              <dgm:constr type="w" for="ch" forName="Accent5" refType="w" fact="0.2226"/>
              <dgm:constr type="h" for="ch" forName="Accent5" refType="h" fact="0.806"/>
              <dgm:constr type="r" for="ch" forName="ParentBackground5" refType="w" fact="0.3147"/>
              <dgm:constr type="t" for="ch" forName="ParentBackground5" refType="h" fact="0.1262"/>
              <dgm:constr type="w" for="ch" forName="ParentBackground5" refType="w" fact="0.1469"/>
              <dgm:constr type="h" for="ch" forName="ParentBackground5" refType="h" fact="0.5319"/>
              <dgm:constr type="r" for="ch" forName="Child5" refType="w" fact="0.3147"/>
              <dgm:constr type="t" for="ch" forName="Child5" refType="h" fact="0.6876"/>
              <dgm:constr type="w" for="ch" forName="Child5" refType="w" fact="0.1469"/>
              <dgm:constr type="h" for="ch" forName="Child5" refType="h" fact="0.3124"/>
              <dgm:constr type="r" for="ch" forName="Accent4" refType="w" fact="0.5152"/>
              <dgm:constr type="t" for="ch" forName="Accent4" refType="h" fact="-0.0109"/>
              <dgm:constr type="w" for="ch" forName="Accent4" refType="w" fact="0.2226"/>
              <dgm:constr type="h" for="ch" forName="Accent4" refType="h" fact="0.806"/>
              <dgm:constr type="r" for="ch" forName="ParentBackground4" refType="w" fact="0.4773"/>
              <dgm:constr type="t" for="ch" forName="ParentBackground4" refType="h" fact="0.1262"/>
              <dgm:constr type="w" for="ch" forName="ParentBackground4" refType="w" fact="0.1469"/>
              <dgm:constr type="h" for="ch" forName="ParentBackground4" refType="h" fact="0.5319"/>
              <dgm:constr type="r" for="ch" forName="Child4" refType="w" fact="0.4773"/>
              <dgm:constr type="t" for="ch" forName="Child4" refType="h" fact="0.6876"/>
              <dgm:constr type="w" for="ch" forName="Child4" refType="w" fact="0.1469"/>
              <dgm:constr type="h" for="ch" forName="Child4" refType="h" fact="0.3124"/>
              <dgm:constr type="r" for="ch" forName="Accent3" refType="w" fact="0.6778"/>
              <dgm:constr type="t" for="ch" forName="Accent3" refType="h" fact="-0.0109"/>
              <dgm:constr type="w" for="ch" forName="Accent3" refType="w" fact="0.2226"/>
              <dgm:constr type="h" for="ch" forName="Accent3" refType="h" fact="0.806"/>
              <dgm:constr type="r" for="ch" forName="ParentBackground3" refType="w" fact="0.6399"/>
              <dgm:constr type="t" for="ch" forName="ParentBackground3" refType="h" fact="0.1262"/>
              <dgm:constr type="w" for="ch" forName="ParentBackground3" refType="w" fact="0.1469"/>
              <dgm:constr type="h" for="ch" forName="ParentBackground3" refType="h" fact="0.5319"/>
              <dgm:constr type="r" for="ch" forName="Child3" refType="w" fact="0.6399"/>
              <dgm:constr type="t" for="ch" forName="Child3" refType="h" fact="0.6876"/>
              <dgm:constr type="w" for="ch" forName="Child3" refType="w" fact="0.1469"/>
              <dgm:constr type="h" for="ch" forName="Child3" refType="h" fact="0.3124"/>
              <dgm:constr type="r" for="ch" forName="Accent2" refType="w" fact="0.8404"/>
              <dgm:constr type="t" for="ch" forName="Accent2" refType="h" fact="-0.0109"/>
              <dgm:constr type="w" for="ch" forName="Accent2" refType="w" fact="0.2226"/>
              <dgm:constr type="h" for="ch" forName="Accent2" refType="h" fact="0.806"/>
              <dgm:constr type="r" for="ch" forName="ParentBackground2" refType="w" fact="0.8025"/>
              <dgm:constr type="t" for="ch" forName="ParentBackground2" refType="h" fact="0.1262"/>
              <dgm:constr type="w" for="ch" forName="ParentBackground2" refType="w" fact="0.1469"/>
              <dgm:constr type="h" for="ch" forName="ParentBackground2" refType="h" fact="0.5319"/>
              <dgm:constr type="r" for="ch" forName="Child2" refType="w" fact="0.8025"/>
              <dgm:constr type="t" for="ch" forName="Child2" refType="h" fact="0.6876"/>
              <dgm:constr type="w" for="ch" forName="Child2" refType="w" fact="0.1469"/>
              <dgm:constr type="h" for="ch" forName="Child2" refType="h" fact="0.3124"/>
              <dgm:constr type="r" for="ch" forName="Accent1" refType="w" fact="1.003"/>
              <dgm:constr type="t" for="ch" forName="Accent1" refType="h" fact="-0.0109"/>
              <dgm:constr type="w" for="ch" forName="Accent1" refType="w" fact="0.2226"/>
              <dgm:constr type="h" for="ch" forName="Accent1" refType="h" fact="0.806"/>
              <dgm:constr type="r" for="ch" forName="ParentBackground1" refType="w" fact="0.9652"/>
              <dgm:constr type="t" for="ch" forName="ParentBackground1" refType="h" fact="0.1262"/>
              <dgm:constr type="w" for="ch" forName="ParentBackground1" refType="w" fact="0.1469"/>
              <dgm:constr type="h" for="ch" forName="ParentBackground1" refType="h" fact="0.5319"/>
              <dgm:constr type="r" for="ch" forName="Child1" refType="w" fact="0.9652"/>
              <dgm:constr type="t" for="ch" forName="Child1" refType="h" fact="0.6876"/>
              <dgm:constr type="w" for="ch" forName="Child1" refType="w" fact="0.1469"/>
              <dgm:constr type="h" for="ch" forName="Child1" refType="h" fact="0.3124"/>
            </dgm:constrLst>
          </dgm:if>
          <dgm:if name="Name23" axis="ch" ptType="node" func="cnt" op="equ" val="7">
            <dgm:alg type="composite">
              <dgm:param type="ar" val="4.210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r" for="ch" forName="Parent7" refType="w" fact="0.1128"/>
              <dgm:constr type="t" for="ch" forName="Parent7" refType="h" fact="0.2022"/>
              <dgm:constr type="w" for="ch" forName="Parent7" refType="w" fact="0.0902"/>
              <dgm:constr type="h" for="ch" forName="Parent7" refType="h" fact="0.3799"/>
              <dgm:constr type="r" for="ch" forName="Parent6" refType="w" fact="0.2527"/>
              <dgm:constr type="t" for="ch" forName="Parent6" refType="h" fact="0.2022"/>
              <dgm:constr type="w" for="ch" forName="Parent6" refType="w" fact="0.0902"/>
              <dgm:constr type="h" for="ch" forName="Parent6" refType="h" fact="0.3799"/>
              <dgm:constr type="r" for="ch" forName="Parent5" refType="w" fact="0.3925"/>
              <dgm:constr type="t" for="ch" forName="Parent5" refType="h" fact="0.2022"/>
              <dgm:constr type="w" for="ch" forName="Parent5" refType="w" fact="0.0902"/>
              <dgm:constr type="h" for="ch" forName="Parent5" refType="h" fact="0.3799"/>
              <dgm:constr type="r" for="ch" forName="Parent4" refType="w" fact="0.5324"/>
              <dgm:constr type="t" for="ch" forName="Parent4" refType="h" fact="0.2022"/>
              <dgm:constr type="w" for="ch" forName="Parent4" refType="w" fact="0.0902"/>
              <dgm:constr type="h" for="ch" forName="Parent4" refType="h" fact="0.3799"/>
              <dgm:constr type="r" for="ch" forName="Parent3" refType="w" fact="0.6723"/>
              <dgm:constr type="t" for="ch" forName="Parent3" refType="h" fact="0.2022"/>
              <dgm:constr type="w" for="ch" forName="Parent3" refType="w" fact="0.0902"/>
              <dgm:constr type="h" for="ch" forName="Parent3" refType="h" fact="0.3799"/>
              <dgm:constr type="r" for="ch" forName="Parent2" refType="w" fact="0.8121"/>
              <dgm:constr type="t" for="ch" forName="Parent2" refType="h" fact="0.2022"/>
              <dgm:constr type="w" for="ch" forName="Parent2" refType="w" fact="0.0902"/>
              <dgm:constr type="h" for="ch" forName="Parent2" refType="h" fact="0.3799"/>
              <dgm:constr type="r" for="ch" forName="Parent1" refType="w" fact="0.952"/>
              <dgm:constr type="t" for="ch" forName="Parent1" refType="h" fact="0.2022"/>
              <dgm:constr type="w" for="ch" forName="Parent1" refType="w" fact="0.0902"/>
              <dgm:constr type="h" for="ch" forName="Parent1" refType="h" fact="0.3799"/>
              <dgm:constr type="r" for="ch" forName="Accent7" refType="w" fact="0.1354"/>
              <dgm:constr type="t" for="ch" forName="Accent7" refType="h" fact="0.1072"/>
              <dgm:constr type="w" for="ch" forName="Accent7" refType="w" fact="0.1354"/>
              <dgm:constr type="h" for="ch" forName="Accent7" refType="h" fact="0.5699"/>
              <dgm:constr type="r" for="ch" forName="ParentBackground7" refType="w" fact="0.1308"/>
              <dgm:constr type="t" for="ch" forName="ParentBackground7" refType="h" fact="0.1262"/>
              <dgm:constr type="w" for="ch" forName="ParentBackground7" refType="w" fact="0.1263"/>
              <dgm:constr type="h" for="ch" forName="ParentBackground7" refType="h" fact="0.5319"/>
              <dgm:constr type="r" for="ch" forName="Child7" refType="w" fact="0.1308"/>
              <dgm:constr type="t" for="ch" forName="Child7" refType="h" fact="0.6876"/>
              <dgm:constr type="w" for="ch" forName="Child7" refType="w" fact="0.1263"/>
              <dgm:constr type="h" for="ch" forName="Child7" refType="h" fact="0.3124"/>
              <dgm:constr type="r" for="ch" forName="Accent6" refType="w" fact="0.3033"/>
              <dgm:constr type="t" for="ch" forName="Accent6" refType="h" fact="-0.0109"/>
              <dgm:constr type="w" for="ch" forName="Accent6" refType="w" fact="0.1915"/>
              <dgm:constr type="h" for="ch" forName="Accent6" refType="h" fact="0.806"/>
              <dgm:constr type="r" for="ch" forName="ParentBackground6" refType="w" fact="0.2707"/>
              <dgm:constr type="t" for="ch" forName="ParentBackground6" refType="h" fact="0.1262"/>
              <dgm:constr type="w" for="ch" forName="ParentBackground6" refType="w" fact="0.1263"/>
              <dgm:constr type="h" for="ch" forName="ParentBackground6" refType="h" fact="0.5319"/>
              <dgm:constr type="r" for="ch" forName="Child6" refType="w" fact="0.2707"/>
              <dgm:constr type="t" for="ch" forName="Child6" refType="h" fact="0.6876"/>
              <dgm:constr type="w" for="ch" forName="Child6" refType="w" fact="0.1263"/>
              <dgm:constr type="h" for="ch" forName="Child6" refType="h" fact="0.3124"/>
              <dgm:constr type="r" for="ch" forName="Accent5" refType="w" fact="0.4431"/>
              <dgm:constr type="t" for="ch" forName="Accent5" refType="h" fact="-0.0109"/>
              <dgm:constr type="w" for="ch" forName="Accent5" refType="w" fact="0.1915"/>
              <dgm:constr type="h" for="ch" forName="Accent5" refType="h" fact="0.806"/>
              <dgm:constr type="r" for="ch" forName="ParentBackground5" refType="w" fact="0.4106"/>
              <dgm:constr type="t" for="ch" forName="ParentBackground5" refType="h" fact="0.1262"/>
              <dgm:constr type="w" for="ch" forName="ParentBackground5" refType="w" fact="0.1263"/>
              <dgm:constr type="h" for="ch" forName="ParentBackground5" refType="h" fact="0.5319"/>
              <dgm:constr type="r" for="ch" forName="Child5" refType="w" fact="0.4106"/>
              <dgm:constr type="t" for="ch" forName="Child5" refType="h" fact="0.6876"/>
              <dgm:constr type="w" for="ch" forName="Child5" refType="w" fact="0.1263"/>
              <dgm:constr type="h" for="ch" forName="Child5" refType="h" fact="0.3124"/>
              <dgm:constr type="r" for="ch" forName="Accent4" refType="w" fact="0.583"/>
              <dgm:constr type="t" for="ch" forName="Accent4" refType="h" fact="-0.0109"/>
              <dgm:constr type="w" for="ch" forName="Accent4" refType="w" fact="0.1915"/>
              <dgm:constr type="h" for="ch" forName="Accent4" refType="h" fact="0.806"/>
              <dgm:constr type="r" for="ch" forName="ParentBackground4" refType="w" fact="0.5504"/>
              <dgm:constr type="t" for="ch" forName="ParentBackground4" refType="h" fact="0.1262"/>
              <dgm:constr type="w" for="ch" forName="ParentBackground4" refType="w" fact="0.1263"/>
              <dgm:constr type="h" for="ch" forName="ParentBackground4" refType="h" fact="0.5319"/>
              <dgm:constr type="r" for="ch" forName="Child4" refType="w" fact="0.5504"/>
              <dgm:constr type="t" for="ch" forName="Child4" refType="h" fact="0.6876"/>
              <dgm:constr type="w" for="ch" forName="Child4" refType="w" fact="0.1263"/>
              <dgm:constr type="h" for="ch" forName="Child4" refType="h" fact="0.3124"/>
              <dgm:constr type="r" for="ch" forName="Accent3" refType="w" fact="0.7229"/>
              <dgm:constr type="t" for="ch" forName="Accent3" refType="h" fact="-0.0109"/>
              <dgm:constr type="w" for="ch" forName="Accent3" refType="w" fact="0.1915"/>
              <dgm:constr type="h" for="ch" forName="Accent3" refType="h" fact="0.806"/>
              <dgm:constr type="r" for="ch" forName="ParentBackground3" refType="w" fact="0.6903"/>
              <dgm:constr type="t" for="ch" forName="ParentBackground3" refType="h" fact="0.1262"/>
              <dgm:constr type="w" for="ch" forName="ParentBackground3" refType="w" fact="0.1263"/>
              <dgm:constr type="h" for="ch" forName="ParentBackground3" refType="h" fact="0.5319"/>
              <dgm:constr type="r" for="ch" forName="Child3" refType="w" fact="0.6903"/>
              <dgm:constr type="t" for="ch" forName="Child3" refType="h" fact="0.6876"/>
              <dgm:constr type="w" for="ch" forName="Child3" refType="w" fact="0.1263"/>
              <dgm:constr type="h" for="ch" forName="Child3" refType="h" fact="0.3124"/>
              <dgm:constr type="r" for="ch" forName="Accent2" refType="w" fact="0.8627"/>
              <dgm:constr type="t" for="ch" forName="Accent2" refType="h" fact="-0.0109"/>
              <dgm:constr type="w" for="ch" forName="Accent2" refType="w" fact="0.1915"/>
              <dgm:constr type="h" for="ch" forName="Accent2" refType="h" fact="0.806"/>
              <dgm:constr type="r" for="ch" forName="ParentBackground2" refType="w" fact="0.8302"/>
              <dgm:constr type="t" for="ch" forName="ParentBackground2" refType="h" fact="0.1262"/>
              <dgm:constr type="w" for="ch" forName="ParentBackground2" refType="w" fact="0.1263"/>
              <dgm:constr type="h" for="ch" forName="ParentBackground2" refType="h" fact="0.5319"/>
              <dgm:constr type="r" for="ch" forName="Child2" refType="w" fact="0.8302"/>
              <dgm:constr type="t" for="ch" forName="Child2" refType="h" fact="0.6876"/>
              <dgm:constr type="w" for="ch" forName="Child2" refType="w" fact="0.1263"/>
              <dgm:constr type="h" for="ch" forName="Child2" refType="h" fact="0.3124"/>
              <dgm:constr type="r" for="ch" forName="Accent1" refType="w" fact="1.0026"/>
              <dgm:constr type="t" for="ch" forName="Accent1" refType="h" fact="-0.0109"/>
              <dgm:constr type="w" for="ch" forName="Accent1" refType="w" fact="0.1915"/>
              <dgm:constr type="h" for="ch" forName="Accent1" refType="h" fact="0.806"/>
              <dgm:constr type="r" for="ch" forName="ParentBackground1" refType="w" fact="0.97"/>
              <dgm:constr type="t" for="ch" forName="ParentBackground1" refType="h" fact="0.1262"/>
              <dgm:constr type="w" for="ch" forName="ParentBackground1" refType="w" fact="0.1263"/>
              <dgm:constr type="h" for="ch" forName="ParentBackground1" refType="h" fact="0.5319"/>
              <dgm:constr type="r" for="ch" forName="Child1" refType="w" fact="0.97"/>
              <dgm:constr type="t" for="ch" forName="Child1" refType="h" fact="0.6876"/>
              <dgm:constr type="w" for="ch" forName="Child1" refType="w" fact="0.1263"/>
              <dgm:constr type="h" for="ch" forName="Child1" refType="h" fact="0.3124"/>
            </dgm:constrLst>
          </dgm:if>
          <dgm:if name="Name24" axis="ch" ptType="node" func="cnt" op="equ" val="8">
            <dgm:alg type="composite">
              <dgm:param type="ar" val="4.799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r" for="ch" forName="Parent8" refType="w" fact="0.099"/>
              <dgm:constr type="t" for="ch" forName="Parent8" refType="h" fact="0.2022"/>
              <dgm:constr type="w" for="ch" forName="Parent8" refType="w" fact="0.0792"/>
              <dgm:constr type="h" for="ch" forName="Parent8" refType="h" fact="0.3799"/>
              <dgm:constr type="r" for="ch" forName="Parent7" refType="w" fact="0.2217"/>
              <dgm:constr type="t" for="ch" forName="Parent7" refType="h" fact="0.2022"/>
              <dgm:constr type="w" for="ch" forName="Parent7" refType="w" fact="0.0792"/>
              <dgm:constr type="h" for="ch" forName="Parent7" refType="h" fact="0.3799"/>
              <dgm:constr type="r" for="ch" forName="Parent6" refType="w" fact="0.3444"/>
              <dgm:constr type="t" for="ch" forName="Parent6" refType="h" fact="0.2022"/>
              <dgm:constr type="w" for="ch" forName="Parent6" refType="w" fact="0.0792"/>
              <dgm:constr type="h" for="ch" forName="Parent6" refType="h" fact="0.3799"/>
              <dgm:constr type="r" for="ch" forName="Parent5" refType="w" fact="0.4671"/>
              <dgm:constr type="t" for="ch" forName="Parent5" refType="h" fact="0.2022"/>
              <dgm:constr type="w" for="ch" forName="Parent5" refType="w" fact="0.0792"/>
              <dgm:constr type="h" for="ch" forName="Parent5" refType="h" fact="0.3799"/>
              <dgm:constr type="r" for="ch" forName="Parent4" refType="w" fact="0.5898"/>
              <dgm:constr type="t" for="ch" forName="Parent4" refType="h" fact="0.2022"/>
              <dgm:constr type="w" for="ch" forName="Parent4" refType="w" fact="0.0792"/>
              <dgm:constr type="h" for="ch" forName="Parent4" refType="h" fact="0.3799"/>
              <dgm:constr type="r" for="ch" forName="Parent3" refType="w" fact="0.7125"/>
              <dgm:constr type="t" for="ch" forName="Parent3" refType="h" fact="0.2022"/>
              <dgm:constr type="w" for="ch" forName="Parent3" refType="w" fact="0.0792"/>
              <dgm:constr type="h" for="ch" forName="Parent3" refType="h" fact="0.3799"/>
              <dgm:constr type="r" for="ch" forName="Parent2" refType="w" fact="0.8352"/>
              <dgm:constr type="t" for="ch" forName="Parent2" refType="h" fact="0.2022"/>
              <dgm:constr type="w" for="ch" forName="Parent2" refType="w" fact="0.0792"/>
              <dgm:constr type="h" for="ch" forName="Parent2" refType="h" fact="0.3799"/>
              <dgm:constr type="r" for="ch" forName="Parent1" refType="w" fact="0.9579"/>
              <dgm:constr type="t" for="ch" forName="Parent1" refType="h" fact="0.2022"/>
              <dgm:constr type="w" for="ch" forName="Parent1" refType="w" fact="0.0792"/>
              <dgm:constr type="h" for="ch" forName="Parent1" refType="h" fact="0.3799"/>
              <dgm:constr type="r" for="ch" forName="Accent8" refType="w" fact="0.1187"/>
              <dgm:constr type="t" for="ch" forName="Accent8" refType="h" fact="0.1072"/>
              <dgm:constr type="w" for="ch" forName="Accent8" refType="w" fact="0.1187"/>
              <dgm:constr type="h" for="ch" forName="Accent8" refType="h" fact="0.5699"/>
              <dgm:constr type="r" for="ch" forName="ParentBackground8" refType="w" fact="0.1148"/>
              <dgm:constr type="t" for="ch" forName="ParentBackground8" refType="h" fact="0.1262"/>
              <dgm:constr type="w" for="ch" forName="ParentBackground8" refType="w" fact="0.1108"/>
              <dgm:constr type="h" for="ch" forName="ParentBackground8" refType="h" fact="0.5319"/>
              <dgm:constr type="r" for="ch" forName="Child8" refType="w" fact="0.1148"/>
              <dgm:constr type="t" for="ch" forName="Child8" refType="h" fact="0.6876"/>
              <dgm:constr type="w" for="ch" forName="Child8" refType="w" fact="0.1108"/>
              <dgm:constr type="h" for="ch" forName="Child8" refType="h" fact="0.3124"/>
              <dgm:constr type="r" for="ch" forName="Accent7" refType="w" fact="0.2661"/>
              <dgm:constr type="t" for="ch" forName="Accent7" refType="h" fact="-0.0109"/>
              <dgm:constr type="w" for="ch" forName="Accent7" refType="w" fact="0.1679"/>
              <dgm:constr type="h" for="ch" forName="Accent7" refType="h" fact="0.806"/>
              <dgm:constr type="r" for="ch" forName="ParentBackground7" refType="w" fact="0.2375"/>
              <dgm:constr type="t" for="ch" forName="ParentBackground7" refType="h" fact="0.1262"/>
              <dgm:constr type="w" for="ch" forName="ParentBackground7" refType="w" fact="0.1108"/>
              <dgm:constr type="h" for="ch" forName="ParentBackground7" refType="h" fact="0.5319"/>
              <dgm:constr type="r" for="ch" forName="Child7" refType="w" fact="0.2375"/>
              <dgm:constr type="t" for="ch" forName="Child7" refType="h" fact="0.6876"/>
              <dgm:constr type="w" for="ch" forName="Child7" refType="w" fact="0.1108"/>
              <dgm:constr type="h" for="ch" forName="Child7" refType="h" fact="0.3124"/>
              <dgm:constr type="r" for="ch" forName="Accent6" refType="w" fact="0.3888"/>
              <dgm:constr type="t" for="ch" forName="Accent6" refType="h" fact="-0.0109"/>
              <dgm:constr type="w" for="ch" forName="Accent6" refType="w" fact="0.1679"/>
              <dgm:constr type="h" for="ch" forName="Accent6" refType="h" fact="0.806"/>
              <dgm:constr type="r" for="ch" forName="ParentBackground6" refType="w" fact="0.3602"/>
              <dgm:constr type="t" for="ch" forName="ParentBackground6" refType="h" fact="0.1262"/>
              <dgm:constr type="w" for="ch" forName="ParentBackground6" refType="w" fact="0.1108"/>
              <dgm:constr type="h" for="ch" forName="ParentBackground6" refType="h" fact="0.5319"/>
              <dgm:constr type="r" for="ch" forName="Child6" refType="w" fact="0.3602"/>
              <dgm:constr type="t" for="ch" forName="Child6" refType="h" fact="0.6876"/>
              <dgm:constr type="w" for="ch" forName="Child6" refType="w" fact="0.1108"/>
              <dgm:constr type="h" for="ch" forName="Child6" refType="h" fact="0.3124"/>
              <dgm:constr type="r" for="ch" forName="Accent5" refType="w" fact="0.5115"/>
              <dgm:constr type="t" for="ch" forName="Accent5" refType="h" fact="-0.0109"/>
              <dgm:constr type="w" for="ch" forName="Accent5" refType="w" fact="0.1679"/>
              <dgm:constr type="h" for="ch" forName="Accent5" refType="h" fact="0.806"/>
              <dgm:constr type="r" for="ch" forName="ParentBackground5" refType="w" fact="0.4829"/>
              <dgm:constr type="t" for="ch" forName="ParentBackground5" refType="h" fact="0.1262"/>
              <dgm:constr type="w" for="ch" forName="ParentBackground5" refType="w" fact="0.1108"/>
              <dgm:constr type="h" for="ch" forName="ParentBackground5" refType="h" fact="0.5319"/>
              <dgm:constr type="r" for="ch" forName="Child5" refType="w" fact="0.4829"/>
              <dgm:constr type="t" for="ch" forName="Child5" refType="h" fact="0.6876"/>
              <dgm:constr type="w" for="ch" forName="Child5" refType="w" fact="0.1108"/>
              <dgm:constr type="h" for="ch" forName="Child5" refType="h" fact="0.3124"/>
              <dgm:constr type="r" for="ch" forName="Accent4" refType="w" fact="0.6342"/>
              <dgm:constr type="t" for="ch" forName="Accent4" refType="h" fact="-0.0109"/>
              <dgm:constr type="w" for="ch" forName="Accent4" refType="w" fact="0.1679"/>
              <dgm:constr type="h" for="ch" forName="Accent4" refType="h" fact="0.806"/>
              <dgm:constr type="r" for="ch" forName="ParentBackground4" refType="w" fact="0.6056"/>
              <dgm:constr type="t" for="ch" forName="ParentBackground4" refType="h" fact="0.1262"/>
              <dgm:constr type="w" for="ch" forName="ParentBackground4" refType="w" fact="0.1108"/>
              <dgm:constr type="h" for="ch" forName="ParentBackground4" refType="h" fact="0.5319"/>
              <dgm:constr type="r" for="ch" forName="Child4" refType="w" fact="0.6056"/>
              <dgm:constr type="t" for="ch" forName="Child4" refType="h" fact="0.6876"/>
              <dgm:constr type="w" for="ch" forName="Child4" refType="w" fact="0.1108"/>
              <dgm:constr type="h" for="ch" forName="Child4" refType="h" fact="0.3124"/>
              <dgm:constr type="r" for="ch" forName="Accent3" refType="w" fact="0.7569"/>
              <dgm:constr type="t" for="ch" forName="Accent3" refType="h" fact="-0.0109"/>
              <dgm:constr type="w" for="ch" forName="Accent3" refType="w" fact="0.1679"/>
              <dgm:constr type="h" for="ch" forName="Accent3" refType="h" fact="0.806"/>
              <dgm:constr type="r" for="ch" forName="ParentBackground3" refType="w" fact="0.7283"/>
              <dgm:constr type="t" for="ch" forName="ParentBackground3" refType="h" fact="0.1262"/>
              <dgm:constr type="w" for="ch" forName="ParentBackground3" refType="w" fact="0.1108"/>
              <dgm:constr type="h" for="ch" forName="ParentBackground3" refType="h" fact="0.5319"/>
              <dgm:constr type="r" for="ch" forName="Child3" refType="w" fact="0.7283"/>
              <dgm:constr type="t" for="ch" forName="Child3" refType="h" fact="0.6876"/>
              <dgm:constr type="w" for="ch" forName="Child3" refType="w" fact="0.1108"/>
              <dgm:constr type="h" for="ch" forName="Child3" refType="h" fact="0.3124"/>
              <dgm:constr type="r" for="ch" forName="Accent2" refType="w" fact="0.8796"/>
              <dgm:constr type="t" for="ch" forName="Accent2" refType="h" fact="-0.0109"/>
              <dgm:constr type="w" for="ch" forName="Accent2" refType="w" fact="0.1679"/>
              <dgm:constr type="h" for="ch" forName="Accent2" refType="h" fact="0.806"/>
              <dgm:constr type="r" for="ch" forName="ParentBackground2" refType="w" fact="0.851"/>
              <dgm:constr type="t" for="ch" forName="ParentBackground2" refType="h" fact="0.1262"/>
              <dgm:constr type="w" for="ch" forName="ParentBackground2" refType="w" fact="0.1108"/>
              <dgm:constr type="h" for="ch" forName="ParentBackground2" refType="h" fact="0.5319"/>
              <dgm:constr type="r" for="ch" forName="Child2" refType="w" fact="0.851"/>
              <dgm:constr type="t" for="ch" forName="Child2" refType="h" fact="0.6876"/>
              <dgm:constr type="w" for="ch" forName="Child2" refType="w" fact="0.1108"/>
              <dgm:constr type="h" for="ch" forName="Child2" refType="h" fact="0.3124"/>
              <dgm:constr type="r" for="ch" forName="Accent1" refType="w" fact="1.0023"/>
              <dgm:constr type="t" for="ch" forName="Accent1" refType="h" fact="-0.0109"/>
              <dgm:constr type="w" for="ch" forName="Accent1" refType="w" fact="0.1679"/>
              <dgm:constr type="h" for="ch" forName="Accent1" refType="h" fact="0.806"/>
              <dgm:constr type="r" for="ch" forName="ParentBackground1" refType="w" fact="0.9737"/>
              <dgm:constr type="t" for="ch" forName="ParentBackground1" refType="h" fact="0.1262"/>
              <dgm:constr type="w" for="ch" forName="ParentBackground1" refType="w" fact="0.1108"/>
              <dgm:constr type="h" for="ch" forName="ParentBackground1" refType="h" fact="0.5319"/>
              <dgm:constr type="r" for="ch" forName="Child1" refType="w" fact="0.9737"/>
              <dgm:constr type="t" for="ch" forName="Child1" refType="h" fact="0.6876"/>
              <dgm:constr type="w" for="ch" forName="Child1" refType="w" fact="0.1108"/>
              <dgm:constr type="h" for="ch" forName="Child1" refType="h" fact="0.3124"/>
            </dgm:constrLst>
          </dgm:if>
          <dgm:if name="Name25" axis="ch" ptType="node" func="cnt" op="equ" val="9">
            <dgm:alg type="composite">
              <dgm:param type="ar" val="5.38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r" for="ch" forName="Parent9" refType="w" fact="0.0881"/>
              <dgm:constr type="t" for="ch" forName="Parent9" refType="h" fact="0.2022"/>
              <dgm:constr type="w" for="ch" forName="Parent9" refType="w" fact="0.0705"/>
              <dgm:constr type="h" for="ch" forName="Parent9" refType="h" fact="0.3799"/>
              <dgm:constr type="r" for="ch" forName="Parent8" refType="w" fact="0.1974"/>
              <dgm:constr type="t" for="ch" forName="Parent8" refType="h" fact="0.2022"/>
              <dgm:constr type="w" for="ch" forName="Parent8" refType="w" fact="0.0705"/>
              <dgm:constr type="h" for="ch" forName="Parent8" refType="h" fact="0.3799"/>
              <dgm:constr type="r" for="ch" forName="Parent7" refType="w" fact="0.3067"/>
              <dgm:constr type="t" for="ch" forName="Parent7" refType="h" fact="0.2022"/>
              <dgm:constr type="w" for="ch" forName="Parent7" refType="w" fact="0.0705"/>
              <dgm:constr type="h" for="ch" forName="Parent7" refType="h" fact="0.3799"/>
              <dgm:constr type="r" for="ch" forName="Parent6" refType="w" fact="0.416"/>
              <dgm:constr type="t" for="ch" forName="Parent6" refType="h" fact="0.2022"/>
              <dgm:constr type="w" for="ch" forName="Parent6" refType="w" fact="0.0705"/>
              <dgm:constr type="h" for="ch" forName="Parent6" refType="h" fact="0.3799"/>
              <dgm:constr type="r" for="ch" forName="Parent5" refType="w" fact="0.5253"/>
              <dgm:constr type="t" for="ch" forName="Parent5" refType="h" fact="0.2022"/>
              <dgm:constr type="w" for="ch" forName="Parent5" refType="w" fact="0.0705"/>
              <dgm:constr type="h" for="ch" forName="Parent5" refType="h" fact="0.3799"/>
              <dgm:constr type="r" for="ch" forName="Parent4" refType="w" fact="0.6346"/>
              <dgm:constr type="t" for="ch" forName="Parent4" refType="h" fact="0.2022"/>
              <dgm:constr type="w" for="ch" forName="Parent4" refType="w" fact="0.0705"/>
              <dgm:constr type="h" for="ch" forName="Parent4" refType="h" fact="0.3799"/>
              <dgm:constr type="r" for="ch" forName="Parent3" refType="w" fact="0.7439"/>
              <dgm:constr type="t" for="ch" forName="Parent3" refType="h" fact="0.2022"/>
              <dgm:constr type="w" for="ch" forName="Parent3" refType="w" fact="0.0705"/>
              <dgm:constr type="h" for="ch" forName="Parent3" refType="h" fact="0.3799"/>
              <dgm:constr type="r" for="ch" forName="Parent2" refType="w" fact="0.8532"/>
              <dgm:constr type="t" for="ch" forName="Parent2" refType="h" fact="0.2022"/>
              <dgm:constr type="w" for="ch" forName="Parent2" refType="w" fact="0.0705"/>
              <dgm:constr type="h" for="ch" forName="Parent2" refType="h" fact="0.3799"/>
              <dgm:constr type="r" for="ch" forName="Parent1" refType="w" fact="0.9625"/>
              <dgm:constr type="t" for="ch" forName="Parent1" refType="h" fact="0.2022"/>
              <dgm:constr type="w" for="ch" forName="Parent1" refType="w" fact="0.0705"/>
              <dgm:constr type="h" for="ch" forName="Parent1" refType="h" fact="0.3799"/>
              <dgm:constr type="r" for="ch" forName="Accent9" refType="w" fact="0.1058"/>
              <dgm:constr type="t" for="ch" forName="Accent9" refType="h" fact="0.1072"/>
              <dgm:constr type="w" for="ch" forName="Accent9" refType="w" fact="0.1058"/>
              <dgm:constr type="h" for="ch" forName="Accent9" refType="h" fact="0.5699"/>
              <dgm:constr type="r" for="ch" forName="ParentBackground9" refType="w" fact="0.1022"/>
              <dgm:constr type="t" for="ch" forName="ParentBackground9" refType="h" fact="0.1262"/>
              <dgm:constr type="w" for="ch" forName="ParentBackground9" refType="w" fact="0.0987"/>
              <dgm:constr type="h" for="ch" forName="ParentBackground9" refType="h" fact="0.5319"/>
              <dgm:constr type="r" for="ch" forName="Child9" refType="w" fact="0.1022"/>
              <dgm:constr type="t" for="ch" forName="Child9" refType="h" fact="0.6876"/>
              <dgm:constr type="w" for="ch" forName="Child9" refType="w" fact="0.0987"/>
              <dgm:constr type="h" for="ch" forName="Child9" refType="h" fact="0.3124"/>
              <dgm:constr type="r" for="ch" forName="Accent8" refType="w" fact="0.237"/>
              <dgm:constr type="t" for="ch" forName="Accent8" refType="h" fact="-0.0109"/>
              <dgm:constr type="w" for="ch" forName="Accent8" refType="w" fact="0.1496"/>
              <dgm:constr type="h" for="ch" forName="Accent8" refType="h" fact="0.806"/>
              <dgm:constr type="r" for="ch" forName="ParentBackground8" refType="w" fact="0.2115"/>
              <dgm:constr type="t" for="ch" forName="ParentBackground8" refType="h" fact="0.1262"/>
              <dgm:constr type="w" for="ch" forName="ParentBackground8" refType="w" fact="0.0987"/>
              <dgm:constr type="h" for="ch" forName="ParentBackground8" refType="h" fact="0.5319"/>
              <dgm:constr type="r" for="ch" forName="Child8" refType="w" fact="0.2115"/>
              <dgm:constr type="t" for="ch" forName="Child8" refType="h" fact="0.6876"/>
              <dgm:constr type="w" for="ch" forName="Child8" refType="w" fact="0.0987"/>
              <dgm:constr type="h" for="ch" forName="Child8" refType="h" fact="0.3124"/>
              <dgm:constr type="r" for="ch" forName="Accent7" refType="w" fact="0.3462"/>
              <dgm:constr type="t" for="ch" forName="Accent7" refType="h" fact="-0.0109"/>
              <dgm:constr type="w" for="ch" forName="Accent7" refType="w" fact="0.1496"/>
              <dgm:constr type="h" for="ch" forName="Accent7" refType="h" fact="0.806"/>
              <dgm:constr type="r" for="ch" forName="ParentBackground7" refType="w" fact="0.3208"/>
              <dgm:constr type="t" for="ch" forName="ParentBackground7" refType="h" fact="0.1262"/>
              <dgm:constr type="w" for="ch" forName="ParentBackground7" refType="w" fact="0.0987"/>
              <dgm:constr type="h" for="ch" forName="ParentBackground7" refType="h" fact="0.5319"/>
              <dgm:constr type="r" for="ch" forName="Child7" refType="w" fact="0.3208"/>
              <dgm:constr type="t" for="ch" forName="Child7" refType="h" fact="0.6876"/>
              <dgm:constr type="w" for="ch" forName="Child7" refType="w" fact="0.0987"/>
              <dgm:constr type="h" for="ch" forName="Child7" refType="h" fact="0.3124"/>
              <dgm:constr type="r" for="ch" forName="Accent6" refType="w" fact="0.4555"/>
              <dgm:constr type="t" for="ch" forName="Accent6" refType="h" fact="-0.0109"/>
              <dgm:constr type="w" for="ch" forName="Accent6" refType="w" fact="0.1496"/>
              <dgm:constr type="h" for="ch" forName="Accent6" refType="h" fact="0.806"/>
              <dgm:constr type="r" for="ch" forName="ParentBackground6" refType="w" fact="0.4301"/>
              <dgm:constr type="t" for="ch" forName="ParentBackground6" refType="h" fact="0.1262"/>
              <dgm:constr type="w" for="ch" forName="ParentBackground6" refType="w" fact="0.0987"/>
              <dgm:constr type="h" for="ch" forName="ParentBackground6" refType="h" fact="0.5319"/>
              <dgm:constr type="r" for="ch" forName="Child6" refType="w" fact="0.4301"/>
              <dgm:constr type="t" for="ch" forName="Child6" refType="h" fact="0.6876"/>
              <dgm:constr type="w" for="ch" forName="Child6" refType="w" fact="0.0987"/>
              <dgm:constr type="h" for="ch" forName="Child6" refType="h" fact="0.3124"/>
              <dgm:constr type="r" for="ch" forName="Accent5" refType="w" fact="0.5648"/>
              <dgm:constr type="t" for="ch" forName="Accent5" refType="h" fact="-0.0109"/>
              <dgm:constr type="w" for="ch" forName="Accent5" refType="w" fact="0.1496"/>
              <dgm:constr type="h" for="ch" forName="Accent5" refType="h" fact="0.806"/>
              <dgm:constr type="r" for="ch" forName="ParentBackground5" refType="w" fact="0.5394"/>
              <dgm:constr type="t" for="ch" forName="ParentBackground5" refType="h" fact="0.1262"/>
              <dgm:constr type="w" for="ch" forName="ParentBackground5" refType="w" fact="0.0987"/>
              <dgm:constr type="h" for="ch" forName="ParentBackground5" refType="h" fact="0.5319"/>
              <dgm:constr type="r" for="ch" forName="Child5" refType="w" fact="0.5394"/>
              <dgm:constr type="t" for="ch" forName="Child5" refType="h" fact="0.6876"/>
              <dgm:constr type="w" for="ch" forName="Child5" refType="w" fact="0.0987"/>
              <dgm:constr type="h" for="ch" forName="Child5" refType="h" fact="0.3124"/>
              <dgm:constr type="r" for="ch" forName="Accent4" refType="w" fact="0.6741"/>
              <dgm:constr type="t" for="ch" forName="Accent4" refType="h" fact="-0.0109"/>
              <dgm:constr type="w" for="ch" forName="Accent4" refType="w" fact="0.1496"/>
              <dgm:constr type="h" for="ch" forName="Accent4" refType="h" fact="0.806"/>
              <dgm:constr type="r" for="ch" forName="ParentBackground4" refType="w" fact="0.6487"/>
              <dgm:constr type="t" for="ch" forName="ParentBackground4" refType="h" fact="0.1262"/>
              <dgm:constr type="w" for="ch" forName="ParentBackground4" refType="w" fact="0.0987"/>
              <dgm:constr type="h" for="ch" forName="ParentBackground4" refType="h" fact="0.5319"/>
              <dgm:constr type="r" for="ch" forName="Child4" refType="w" fact="0.6487"/>
              <dgm:constr type="t" for="ch" forName="Child4" refType="h" fact="0.6876"/>
              <dgm:constr type="w" for="ch" forName="Child4" refType="w" fact="0.0987"/>
              <dgm:constr type="h" for="ch" forName="Child4" refType="h" fact="0.3124"/>
              <dgm:constr type="r" for="ch" forName="Accent3" refType="w" fact="0.7834"/>
              <dgm:constr type="t" for="ch" forName="Accent3" refType="h" fact="-0.0109"/>
              <dgm:constr type="w" for="ch" forName="Accent3" refType="w" fact="0.1496"/>
              <dgm:constr type="h" for="ch" forName="Accent3" refType="h" fact="0.806"/>
              <dgm:constr type="r" for="ch" forName="ParentBackground3" refType="w" fact="0.758"/>
              <dgm:constr type="t" for="ch" forName="ParentBackground3" refType="h" fact="0.1262"/>
              <dgm:constr type="w" for="ch" forName="ParentBackground3" refType="w" fact="0.0987"/>
              <dgm:constr type="h" for="ch" forName="ParentBackground3" refType="h" fact="0.5319"/>
              <dgm:constr type="r" for="ch" forName="Child3" refType="w" fact="0.758"/>
              <dgm:constr type="t" for="ch" forName="Child3" refType="h" fact="0.6876"/>
              <dgm:constr type="w" for="ch" forName="Child3" refType="w" fact="0.0987"/>
              <dgm:constr type="h" for="ch" forName="Child3" refType="h" fact="0.3124"/>
              <dgm:constr type="r" for="ch" forName="Accent2" refType="w" fact="0.8927"/>
              <dgm:constr type="t" for="ch" forName="Accent2" refType="h" fact="-0.0109"/>
              <dgm:constr type="w" for="ch" forName="Accent2" refType="w" fact="0.1496"/>
              <dgm:constr type="h" for="ch" forName="Accent2" refType="h" fact="0.806"/>
              <dgm:constr type="r" for="ch" forName="ParentBackground2" refType="w" fact="0.8673"/>
              <dgm:constr type="t" for="ch" forName="ParentBackground2" refType="h" fact="0.1262"/>
              <dgm:constr type="w" for="ch" forName="ParentBackground2" refType="w" fact="0.0987"/>
              <dgm:constr type="h" for="ch" forName="ParentBackground2" refType="h" fact="0.5319"/>
              <dgm:constr type="r" for="ch" forName="Child2" refType="w" fact="0.8673"/>
              <dgm:constr type="t" for="ch" forName="Child2" refType="h" fact="0.6876"/>
              <dgm:constr type="w" for="ch" forName="Child2" refType="w" fact="0.0987"/>
              <dgm:constr type="h" for="ch" forName="Child2" refType="h" fact="0.3124"/>
              <dgm:constr type="r" for="ch" forName="Accent1" refType="w" fact="1.002"/>
              <dgm:constr type="t" for="ch" forName="Accent1" refType="h" fact="-0.0109"/>
              <dgm:constr type="w" for="ch" forName="Accent1" refType="w" fact="0.1496"/>
              <dgm:constr type="h" for="ch" forName="Accent1" refType="h" fact="0.806"/>
              <dgm:constr type="r" for="ch" forName="ParentBackground1" refType="w" fact="0.9765"/>
              <dgm:constr type="t" for="ch" forName="ParentBackground1" refType="h" fact="0.1262"/>
              <dgm:constr type="w" for="ch" forName="ParentBackground1" refType="w" fact="0.0987"/>
              <dgm:constr type="h" for="ch" forName="ParentBackground1" refType="h" fact="0.5319"/>
              <dgm:constr type="r" for="ch" forName="Child1" refType="w" fact="0.9765"/>
              <dgm:constr type="t" for="ch" forName="Child1" refType="h" fact="0.6876"/>
              <dgm:constr type="w" for="ch" forName="Child1" refType="w" fact="0.0987"/>
              <dgm:constr type="h" for="ch" forName="Child1" refType="h" fact="0.3124"/>
            </dgm:constrLst>
          </dgm:if>
          <dgm:if name="Name26" axis="ch" ptType="node" func="cnt" op="equ" val="10">
            <dgm:alg type="composite">
              <dgm:param type="ar" val="5.976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7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r" for="ch" forName="Parent10" refType="w" fact="0.0795"/>
              <dgm:constr type="t" for="ch" forName="Parent10" refType="h" fact="0.2022"/>
              <dgm:constr type="w" for="ch" forName="Parent10" refType="w" fact="0.0636"/>
              <dgm:constr type="h" for="ch" forName="Parent10" refType="h" fact="0.3799"/>
              <dgm:constr type="r" for="ch" forName="Parent9" refType="w" fact="0.178"/>
              <dgm:constr type="t" for="ch" forName="Parent9" refType="h" fact="0.2022"/>
              <dgm:constr type="w" for="ch" forName="Parent9" refType="w" fact="0.0636"/>
              <dgm:constr type="h" for="ch" forName="Parent9" refType="h" fact="0.3799"/>
              <dgm:constr type="r" for="ch" forName="Parent8" refType="w" fact="0.2765"/>
              <dgm:constr type="t" for="ch" forName="Parent8" refType="h" fact="0.2022"/>
              <dgm:constr type="w" for="ch" forName="Parent8" refType="w" fact="0.0636"/>
              <dgm:constr type="h" for="ch" forName="Parent8" refType="h" fact="0.3799"/>
              <dgm:constr type="r" for="ch" forName="Parent7" refType="w" fact="0.375"/>
              <dgm:constr type="t" for="ch" forName="Parent7" refType="h" fact="0.2022"/>
              <dgm:constr type="w" for="ch" forName="Parent7" refType="w" fact="0.0636"/>
              <dgm:constr type="h" for="ch" forName="Parent7" refType="h" fact="0.3799"/>
              <dgm:constr type="r" for="ch" forName="Parent6" refType="w" fact="0.4736"/>
              <dgm:constr type="t" for="ch" forName="Parent6" refType="h" fact="0.2022"/>
              <dgm:constr type="w" for="ch" forName="Parent6" refType="w" fact="0.0636"/>
              <dgm:constr type="h" for="ch" forName="Parent6" refType="h" fact="0.3799"/>
              <dgm:constr type="r" for="ch" forName="Parent5" refType="w" fact="0.5721"/>
              <dgm:constr type="t" for="ch" forName="Parent5" refType="h" fact="0.2022"/>
              <dgm:constr type="w" for="ch" forName="Parent5" refType="w" fact="0.0636"/>
              <dgm:constr type="h" for="ch" forName="Parent5" refType="h" fact="0.3799"/>
              <dgm:constr type="r" for="ch" forName="Parent4" refType="w" fact="0.6706"/>
              <dgm:constr type="t" for="ch" forName="Parent4" refType="h" fact="0.2022"/>
              <dgm:constr type="w" for="ch" forName="Parent4" refType="w" fact="0.0636"/>
              <dgm:constr type="h" for="ch" forName="Parent4" refType="h" fact="0.3799"/>
              <dgm:constr type="r" for="ch" forName="Parent3" refType="w" fact="0.7691"/>
              <dgm:constr type="t" for="ch" forName="Parent3" refType="h" fact="0.2022"/>
              <dgm:constr type="w" for="ch" forName="Parent3" refType="w" fact="0.0636"/>
              <dgm:constr type="h" for="ch" forName="Parent3" refType="h" fact="0.3799"/>
              <dgm:constr type="r" for="ch" forName="Parent2" refType="w" fact="0.8676"/>
              <dgm:constr type="t" for="ch" forName="Parent2" refType="h" fact="0.2022"/>
              <dgm:constr type="w" for="ch" forName="Parent2" refType="w" fact="0.0636"/>
              <dgm:constr type="h" for="ch" forName="Parent2" refType="h" fact="0.3799"/>
              <dgm:constr type="r" for="ch" forName="Parent1" refType="w" fact="0.9662"/>
              <dgm:constr type="t" for="ch" forName="Parent1" refType="h" fact="0.2022"/>
              <dgm:constr type="w" for="ch" forName="Parent1" refType="w" fact="0.0636"/>
              <dgm:constr type="h" for="ch" forName="Parent1" refType="h" fact="0.3799"/>
              <dgm:constr type="r" for="ch" forName="Accent10" refType="w" fact="0.0953"/>
              <dgm:constr type="t" for="ch" forName="Accent10" refType="h" fact="0.1072"/>
              <dgm:constr type="w" for="ch" forName="Accent10" refType="w" fact="0.0953"/>
              <dgm:constr type="h" for="ch" forName="Accent10" refType="h" fact="0.5699"/>
              <dgm:constr type="r" for="ch" forName="ParentBackground10" refType="w" fact="0.0922"/>
              <dgm:constr type="t" for="ch" forName="ParentBackground10" refType="h" fact="0.1262"/>
              <dgm:constr type="w" for="ch" forName="ParentBackground10" refType="w" fact="0.089"/>
              <dgm:constr type="h" for="ch" forName="ParentBackground10" refType="h" fact="0.5319"/>
              <dgm:constr type="r" for="ch" forName="Child10" refType="w" fact="0.0922"/>
              <dgm:constr type="t" for="ch" forName="Child10" refType="h" fact="0.6876"/>
              <dgm:constr type="w" for="ch" forName="Child10" refType="w" fact="0.089"/>
              <dgm:constr type="h" for="ch" forName="Child10" refType="h" fact="0.3124"/>
              <dgm:constr type="r" for="ch" forName="Accent9" refType="w" fact="0.2136"/>
              <dgm:constr type="t" for="ch" forName="Accent9" refType="h" fact="-0.0109"/>
              <dgm:constr type="w" for="ch" forName="Accent9" refType="w" fact="0.1348"/>
              <dgm:constr type="h" for="ch" forName="Accent9" refType="h" fact="0.806"/>
              <dgm:constr type="r" for="ch" forName="ParentBackground9" refType="w" fact="0.1907"/>
              <dgm:constr type="t" for="ch" forName="ParentBackground9" refType="h" fact="0.1262"/>
              <dgm:constr type="w" for="ch" forName="ParentBackground9" refType="w" fact="0.089"/>
              <dgm:constr type="h" for="ch" forName="ParentBackground9" refType="h" fact="0.5319"/>
              <dgm:constr type="r" for="ch" forName="Child9" refType="w" fact="0.1907"/>
              <dgm:constr type="t" for="ch" forName="Child9" refType="h" fact="0.6876"/>
              <dgm:constr type="w" for="ch" forName="Child9" refType="w" fact="0.089"/>
              <dgm:constr type="h" for="ch" forName="Child9" refType="h" fact="0.3124"/>
              <dgm:constr type="r" for="ch" forName="Accent8" refType="w" fact="0.3121"/>
              <dgm:constr type="t" for="ch" forName="Accent8" refType="h" fact="-0.0109"/>
              <dgm:constr type="w" for="ch" forName="Accent8" refType="w" fact="0.1348"/>
              <dgm:constr type="h" for="ch" forName="Accent8" refType="h" fact="0.806"/>
              <dgm:constr type="r" for="ch" forName="ParentBackground8" refType="w" fact="0.2892"/>
              <dgm:constr type="t" for="ch" forName="ParentBackground8" refType="h" fact="0.1262"/>
              <dgm:constr type="w" for="ch" forName="ParentBackground8" refType="w" fact="0.089"/>
              <dgm:constr type="h" for="ch" forName="ParentBackground8" refType="h" fact="0.5319"/>
              <dgm:constr type="r" for="ch" forName="Child8" refType="w" fact="0.2892"/>
              <dgm:constr type="t" for="ch" forName="Child8" refType="h" fact="0.6876"/>
              <dgm:constr type="w" for="ch" forName="Child8" refType="w" fact="0.089"/>
              <dgm:constr type="h" for="ch" forName="Child8" refType="h" fact="0.3124"/>
              <dgm:constr type="r" for="ch" forName="Accent7" refType="w" fact="0.4107"/>
              <dgm:constr type="t" for="ch" forName="Accent7" refType="h" fact="-0.0109"/>
              <dgm:constr type="w" for="ch" forName="Accent7" refType="w" fact="0.1348"/>
              <dgm:constr type="h" for="ch" forName="Accent7" refType="h" fact="0.806"/>
              <dgm:constr type="r" for="ch" forName="ParentBackground7" refType="w" fact="0.3877"/>
              <dgm:constr type="t" for="ch" forName="ParentBackground7" refType="h" fact="0.1262"/>
              <dgm:constr type="w" for="ch" forName="ParentBackground7" refType="w" fact="0.089"/>
              <dgm:constr type="h" for="ch" forName="ParentBackground7" refType="h" fact="0.5319"/>
              <dgm:constr type="r" for="ch" forName="Child7" refType="w" fact="0.3877"/>
              <dgm:constr type="t" for="ch" forName="Child7" refType="h" fact="0.6876"/>
              <dgm:constr type="w" for="ch" forName="Child7" refType="w" fact="0.089"/>
              <dgm:constr type="h" for="ch" forName="Child7" refType="h" fact="0.3124"/>
              <dgm:constr type="r" for="ch" forName="Accent6" refType="w" fact="0.5092"/>
              <dgm:constr type="t" for="ch" forName="Accent6" refType="h" fact="-0.0109"/>
              <dgm:constr type="w" for="ch" forName="Accent6" refType="w" fact="0.1348"/>
              <dgm:constr type="h" for="ch" forName="Accent6" refType="h" fact="0.806"/>
              <dgm:constr type="r" for="ch" forName="ParentBackground6" refType="w" fact="0.4863"/>
              <dgm:constr type="t" for="ch" forName="ParentBackground6" refType="h" fact="0.1262"/>
              <dgm:constr type="w" for="ch" forName="ParentBackground6" refType="w" fact="0.089"/>
              <dgm:constr type="h" for="ch" forName="ParentBackground6" refType="h" fact="0.5319"/>
              <dgm:constr type="r" for="ch" forName="Child6" refType="w" fact="0.4863"/>
              <dgm:constr type="t" for="ch" forName="Child6" refType="h" fact="0.6876"/>
              <dgm:constr type="w" for="ch" forName="Child6" refType="w" fact="0.089"/>
              <dgm:constr type="h" for="ch" forName="Child6" refType="h" fact="0.3124"/>
              <dgm:constr type="r" for="ch" forName="Accent5" refType="w" fact="0.6077"/>
              <dgm:constr type="t" for="ch" forName="Accent5" refType="h" fact="-0.0109"/>
              <dgm:constr type="w" for="ch" forName="Accent5" refType="w" fact="0.1348"/>
              <dgm:constr type="h" for="ch" forName="Accent5" refType="h" fact="0.806"/>
              <dgm:constr type="r" for="ch" forName="ParentBackground5" refType="w" fact="0.5848"/>
              <dgm:constr type="t" for="ch" forName="ParentBackground5" refType="h" fact="0.1262"/>
              <dgm:constr type="w" for="ch" forName="ParentBackground5" refType="w" fact="0.089"/>
              <dgm:constr type="h" for="ch" forName="ParentBackground5" refType="h" fact="0.5319"/>
              <dgm:constr type="r" for="ch" forName="Child5" refType="w" fact="0.5848"/>
              <dgm:constr type="t" for="ch" forName="Child5" refType="h" fact="0.6876"/>
              <dgm:constr type="w" for="ch" forName="Child5" refType="w" fact="0.089"/>
              <dgm:constr type="h" for="ch" forName="Child5" refType="h" fact="0.3124"/>
              <dgm:constr type="r" for="ch" forName="Accent4" refType="w" fact="0.7062"/>
              <dgm:constr type="t" for="ch" forName="Accent4" refType="h" fact="-0.0109"/>
              <dgm:constr type="w" for="ch" forName="Accent4" refType="w" fact="0.1348"/>
              <dgm:constr type="h" for="ch" forName="Accent4" refType="h" fact="0.806"/>
              <dgm:constr type="r" for="ch" forName="ParentBackground4" refType="w" fact="0.6833"/>
              <dgm:constr type="t" for="ch" forName="ParentBackground4" refType="h" fact="0.1262"/>
              <dgm:constr type="w" for="ch" forName="ParentBackground4" refType="w" fact="0.089"/>
              <dgm:constr type="h" for="ch" forName="ParentBackground4" refType="h" fact="0.5319"/>
              <dgm:constr type="r" for="ch" forName="Child4" refType="w" fact="0.6833"/>
              <dgm:constr type="t" for="ch" forName="Child4" refType="h" fact="0.6876"/>
              <dgm:constr type="w" for="ch" forName="Child4" refType="w" fact="0.089"/>
              <dgm:constr type="h" for="ch" forName="Child4" refType="h" fact="0.3124"/>
              <dgm:constr type="r" for="ch" forName="Accent3" refType="w" fact="0.8048"/>
              <dgm:constr type="t" for="ch" forName="Accent3" refType="h" fact="-0.0109"/>
              <dgm:constr type="w" for="ch" forName="Accent3" refType="w" fact="0.1348"/>
              <dgm:constr type="h" for="ch" forName="Accent3" refType="h" fact="0.806"/>
              <dgm:constr type="r" for="ch" forName="ParentBackground3" refType="w" fact="0.7818"/>
              <dgm:constr type="t" for="ch" forName="ParentBackground3" refType="h" fact="0.1262"/>
              <dgm:constr type="w" for="ch" forName="ParentBackground3" refType="w" fact="0.089"/>
              <dgm:constr type="h" for="ch" forName="ParentBackground3" refType="h" fact="0.5319"/>
              <dgm:constr type="r" for="ch" forName="Child3" refType="w" fact="0.7818"/>
              <dgm:constr type="t" for="ch" forName="Child3" refType="h" fact="0.6876"/>
              <dgm:constr type="w" for="ch" forName="Child3" refType="w" fact="0.089"/>
              <dgm:constr type="h" for="ch" forName="Child3" refType="h" fact="0.3124"/>
              <dgm:constr type="r" for="ch" forName="Accent2" refType="w" fact="0.9033"/>
              <dgm:constr type="t" for="ch" forName="Accent2" refType="h" fact="-0.0109"/>
              <dgm:constr type="w" for="ch" forName="Accent2" refType="w" fact="0.1348"/>
              <dgm:constr type="h" for="ch" forName="Accent2" refType="h" fact="0.806"/>
              <dgm:constr type="r" for="ch" forName="ParentBackground2" refType="w" fact="0.8804"/>
              <dgm:constr type="t" for="ch" forName="ParentBackground2" refType="h" fact="0.1262"/>
              <dgm:constr type="w" for="ch" forName="ParentBackground2" refType="w" fact="0.089"/>
              <dgm:constr type="h" for="ch" forName="ParentBackground2" refType="h" fact="0.5319"/>
              <dgm:constr type="r" for="ch" forName="Child2" refType="w" fact="0.8804"/>
              <dgm:constr type="t" for="ch" forName="Child2" refType="h" fact="0.6876"/>
              <dgm:constr type="w" for="ch" forName="Child2" refType="w" fact="0.089"/>
              <dgm:constr type="h" for="ch" forName="Child2" refType="h" fact="0.3124"/>
              <dgm:constr type="r" for="ch" forName="Accent1" refType="w" fact="1.0018"/>
              <dgm:constr type="t" for="ch" forName="Accent1" refType="h" fact="-0.0109"/>
              <dgm:constr type="w" for="ch" forName="Accent1" refType="w" fact="0.1348"/>
              <dgm:constr type="h" for="ch" forName="Accent1" refType="h" fact="0.806"/>
              <dgm:constr type="r" for="ch" forName="ParentBackground1" refType="w" fact="0.9789"/>
              <dgm:constr type="t" for="ch" forName="ParentBackground1" refType="h" fact="0.1262"/>
              <dgm:constr type="w" for="ch" forName="ParentBackground1" refType="w" fact="0.089"/>
              <dgm:constr type="h" for="ch" forName="ParentBackground1" refType="h" fact="0.5319"/>
              <dgm:constr type="r" for="ch" forName="Child1" refType="w" fact="0.9789"/>
              <dgm:constr type="t" for="ch" forName="Child1" refType="h" fact="0.6876"/>
              <dgm:constr type="w" for="ch" forName="Child1" refType="w" fact="0.089"/>
              <dgm:constr type="h" for="ch" forName="Child1" refType="h" fact="0.3124"/>
            </dgm:constrLst>
          </dgm:if>
          <dgm:else name="Name27">
            <dgm:alg type="composite">
              <dgm:param type="ar" val="6.5658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8" refType="primFontSz" refFor="des" refForName="Parent1" op="lte"/>
              <dgm:constr type="primFontSz" for="des" forName="Child9" refType="primFontSz" refFor="des" refForName="Parent1" op="lte"/>
              <dgm:constr type="primFontSz" for="des" forName="Child10" refType="primFontSz" refFor="des" refForName="Parent1" op="lte"/>
              <dgm:constr type="primFontSz" for="des" forName="Child11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8" refType="primFontSz" refFor="des" refForName="Parent2" op="lte"/>
              <dgm:constr type="primFontSz" for="des" forName="Child9" refType="primFontSz" refFor="des" refForName="Parent2" op="lte"/>
              <dgm:constr type="primFontSz" for="des" forName="Child10" refType="primFontSz" refFor="des" refForName="Parent2" op="lte"/>
              <dgm:constr type="primFontSz" for="des" forName="Child11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8" refType="primFontSz" refFor="des" refForName="Parent3" op="lte"/>
              <dgm:constr type="primFontSz" for="des" forName="Child9" refType="primFontSz" refFor="des" refForName="Parent3" op="lte"/>
              <dgm:constr type="primFontSz" for="des" forName="Child10" refType="primFontSz" refFor="des" refForName="Parent3" op="lte"/>
              <dgm:constr type="primFontSz" for="des" forName="Child11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8" refType="primFontSz" refFor="des" refForName="Parent4" op="lte"/>
              <dgm:constr type="primFontSz" for="des" forName="Child9" refType="primFontSz" refFor="des" refForName="Parent4" op="lte"/>
              <dgm:constr type="primFontSz" for="des" forName="Child10" refType="primFontSz" refFor="des" refForName="Parent4" op="lte"/>
              <dgm:constr type="primFontSz" for="des" forName="Child11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8" refType="primFontSz" refFor="des" refForName="Parent5" op="lte"/>
              <dgm:constr type="primFontSz" for="des" forName="Child9" refType="primFontSz" refFor="des" refForName="Parent5" op="lte"/>
              <dgm:constr type="primFontSz" for="des" forName="Child10" refType="primFontSz" refFor="des" refForName="Parent5" op="lte"/>
              <dgm:constr type="primFontSz" for="des" forName="Child11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8" refType="primFontSz" refFor="des" refForName="Parent6" op="lte"/>
              <dgm:constr type="primFontSz" for="des" forName="Child9" refType="primFontSz" refFor="des" refForName="Parent6" op="lte"/>
              <dgm:constr type="primFontSz" for="des" forName="Child10" refType="primFontSz" refFor="des" refForName="Parent6" op="lte"/>
              <dgm:constr type="primFontSz" for="des" forName="Child11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Child8" refType="primFontSz" refFor="des" refForName="Parent7" op="lte"/>
              <dgm:constr type="primFontSz" for="des" forName="Child9" refType="primFontSz" refFor="des" refForName="Parent7" op="lte"/>
              <dgm:constr type="primFontSz" for="des" forName="Child10" refType="primFontSz" refFor="des" refForName="Parent7" op="lte"/>
              <dgm:constr type="primFontSz" for="des" forName="Child11" refType="primFontSz" refFor="des" refForName="Parent7" op="lte"/>
              <dgm:constr type="primFontSz" for="des" forName="Child1" refType="primFontSz" refFor="des" refForName="Parent8" op="lte"/>
              <dgm:constr type="primFontSz" for="des" forName="Child2" refType="primFontSz" refFor="des" refForName="Parent8" op="lte"/>
              <dgm:constr type="primFontSz" for="des" forName="Child3" refType="primFontSz" refFor="des" refForName="Parent8" op="lte"/>
              <dgm:constr type="primFontSz" for="des" forName="Child4" refType="primFontSz" refFor="des" refForName="Parent8" op="lte"/>
              <dgm:constr type="primFontSz" for="des" forName="Child5" refType="primFontSz" refFor="des" refForName="Parent8" op="lte"/>
              <dgm:constr type="primFontSz" for="des" forName="Child6" refType="primFontSz" refFor="des" refForName="Parent8" op="lte"/>
              <dgm:constr type="primFontSz" for="des" forName="Child7" refType="primFontSz" refFor="des" refForName="Parent8" op="lte"/>
              <dgm:constr type="primFontSz" for="des" forName="Child8" refType="primFontSz" refFor="des" refForName="Parent8" op="lte"/>
              <dgm:constr type="primFontSz" for="des" forName="Child9" refType="primFontSz" refFor="des" refForName="Parent8" op="lte"/>
              <dgm:constr type="primFontSz" for="des" forName="Child10" refType="primFontSz" refFor="des" refForName="Parent8" op="lte"/>
              <dgm:constr type="primFontSz" for="des" forName="Child11" refType="primFontSz" refFor="des" refForName="Parent8" op="lte"/>
              <dgm:constr type="primFontSz" for="des" forName="Child1" refType="primFontSz" refFor="des" refForName="Parent9" op="lte"/>
              <dgm:constr type="primFontSz" for="des" forName="Child2" refType="primFontSz" refFor="des" refForName="Parent9" op="lte"/>
              <dgm:constr type="primFontSz" for="des" forName="Child3" refType="primFontSz" refFor="des" refForName="Parent9" op="lte"/>
              <dgm:constr type="primFontSz" for="des" forName="Child4" refType="primFontSz" refFor="des" refForName="Parent9" op="lte"/>
              <dgm:constr type="primFontSz" for="des" forName="Child5" refType="primFontSz" refFor="des" refForName="Parent9" op="lte"/>
              <dgm:constr type="primFontSz" for="des" forName="Child6" refType="primFontSz" refFor="des" refForName="Parent9" op="lte"/>
              <dgm:constr type="primFontSz" for="des" forName="Child7" refType="primFontSz" refFor="des" refForName="Parent9" op="lte"/>
              <dgm:constr type="primFontSz" for="des" forName="Child8" refType="primFontSz" refFor="des" refForName="Parent9" op="lte"/>
              <dgm:constr type="primFontSz" for="des" forName="Child9" refType="primFontSz" refFor="des" refForName="Parent9" op="lte"/>
              <dgm:constr type="primFontSz" for="des" forName="Child10" refType="primFontSz" refFor="des" refForName="Parent9" op="lte"/>
              <dgm:constr type="primFontSz" for="des" forName="Child11" refType="primFontSz" refFor="des" refForName="Parent9" op="lte"/>
              <dgm:constr type="primFontSz" for="des" forName="Child1" refType="primFontSz" refFor="des" refForName="Parent10" op="lte"/>
              <dgm:constr type="primFontSz" for="des" forName="Child2" refType="primFontSz" refFor="des" refForName="Parent10" op="lte"/>
              <dgm:constr type="primFontSz" for="des" forName="Child3" refType="primFontSz" refFor="des" refForName="Parent10" op="lte"/>
              <dgm:constr type="primFontSz" for="des" forName="Child4" refType="primFontSz" refFor="des" refForName="Parent10" op="lte"/>
              <dgm:constr type="primFontSz" for="des" forName="Child5" refType="primFontSz" refFor="des" refForName="Parent10" op="lte"/>
              <dgm:constr type="primFontSz" for="des" forName="Child6" refType="primFontSz" refFor="des" refForName="Parent10" op="lte"/>
              <dgm:constr type="primFontSz" for="des" forName="Child7" refType="primFontSz" refFor="des" refForName="Parent10" op="lte"/>
              <dgm:constr type="primFontSz" for="des" forName="Child8" refType="primFontSz" refFor="des" refForName="Parent10" op="lte"/>
              <dgm:constr type="primFontSz" for="des" forName="Child9" refType="primFontSz" refFor="des" refForName="Parent10" op="lte"/>
              <dgm:constr type="primFontSz" for="des" forName="Child10" refType="primFontSz" refFor="des" refForName="Parent10" op="lte"/>
              <dgm:constr type="primFontSz" for="des" forName="Child11" refType="primFontSz" refFor="des" refForName="Parent10" op="lte"/>
              <dgm:constr type="primFontSz" for="des" forName="Child1" refType="primFontSz" refFor="des" refForName="Parent11" op="lte"/>
              <dgm:constr type="primFontSz" for="des" forName="Child2" refType="primFontSz" refFor="des" refForName="Parent11" op="lte"/>
              <dgm:constr type="primFontSz" for="des" forName="Child3" refType="primFontSz" refFor="des" refForName="Parent11" op="lte"/>
              <dgm:constr type="primFontSz" for="des" forName="Child4" refType="primFontSz" refFor="des" refForName="Parent11" op="lte"/>
              <dgm:constr type="primFontSz" for="des" forName="Child5" refType="primFontSz" refFor="des" refForName="Parent11" op="lte"/>
              <dgm:constr type="primFontSz" for="des" forName="Child6" refType="primFontSz" refFor="des" refForName="Parent11" op="lte"/>
              <dgm:constr type="primFontSz" for="des" forName="Child7" refType="primFontSz" refFor="des" refForName="Parent11" op="lte"/>
              <dgm:constr type="primFontSz" for="des" forName="Child8" refType="primFontSz" refFor="des" refForName="Parent11" op="lte"/>
              <dgm:constr type="primFontSz" for="des" forName="Child9" refType="primFontSz" refFor="des" refForName="Parent11" op="lte"/>
              <dgm:constr type="primFontSz" for="des" forName="Child10" refType="primFontSz" refFor="des" refForName="Parent11" op="lte"/>
              <dgm:constr type="primFontSz" for="des" forName="Child11" refType="primFontSz" refFor="des" refForName="Parent11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Parent8" refType="primFontSz" refFor="des" refForName="Parent1" op="equ"/>
              <dgm:constr type="primFontSz" for="des" forName="Parent9" refType="primFontSz" refFor="des" refForName="Parent1" op="equ"/>
              <dgm:constr type="primFontSz" for="des" forName="Parent10" refType="primFontSz" refFor="des" refForName="Parent1" op="equ"/>
              <dgm:constr type="primFontSz" for="des" forName="Parent11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forName="Child8" refType="primFontSz" refFor="des" refForName="Child1" op="equ"/>
              <dgm:constr type="primFontSz" for="des" forName="Child9" refType="primFontSz" refFor="des" refForName="Child1" op="equ"/>
              <dgm:constr type="primFontSz" for="des" forName="Child10" refType="primFontSz" refFor="des" refForName="Child1" op="equ"/>
              <dgm:constr type="primFontSz" for="des" forName="Child11" refType="primFontSz" refFor="des" refForName="Child1" op="equ"/>
              <dgm:constr type="r" for="ch" forName="Parent11" refType="w" fact="0.0723"/>
              <dgm:constr type="t" for="ch" forName="Parent11" refType="h" fact="0.2022"/>
              <dgm:constr type="w" for="ch" forName="Parent11" refType="w" fact="0.0579"/>
              <dgm:constr type="h" for="ch" forName="Parent11" refType="h" fact="0.3799"/>
              <dgm:constr type="r" for="ch" forName="Parent10" refType="w" fact="0.162"/>
              <dgm:constr type="t" for="ch" forName="Parent10" refType="h" fact="0.2022"/>
              <dgm:constr type="w" for="ch" forName="Parent10" refType="w" fact="0.0579"/>
              <dgm:constr type="h" for="ch" forName="Parent10" refType="h" fact="0.3799"/>
              <dgm:constr type="r" for="ch" forName="Parent9" refType="w" fact="0.2517"/>
              <dgm:constr type="t" for="ch" forName="Parent9" refType="h" fact="0.2022"/>
              <dgm:constr type="w" for="ch" forName="Parent9" refType="w" fact="0.0579"/>
              <dgm:constr type="h" for="ch" forName="Parent9" refType="h" fact="0.3799"/>
              <dgm:constr type="r" for="ch" forName="Parent8" refType="w" fact="0.3414"/>
              <dgm:constr type="t" for="ch" forName="Parent8" refType="h" fact="0.2022"/>
              <dgm:constr type="w" for="ch" forName="Parent8" refType="w" fact="0.0579"/>
              <dgm:constr type="h" for="ch" forName="Parent8" refType="h" fact="0.3799"/>
              <dgm:constr type="r" for="ch" forName="Parent7" refType="w" fact="0.4311"/>
              <dgm:constr type="t" for="ch" forName="Parent7" refType="h" fact="0.2022"/>
              <dgm:constr type="w" for="ch" forName="Parent7" refType="w" fact="0.0579"/>
              <dgm:constr type="h" for="ch" forName="Parent7" refType="h" fact="0.3799"/>
              <dgm:constr type="r" for="ch" forName="Parent6" refType="w" fact="0.5208"/>
              <dgm:constr type="t" for="ch" forName="Parent6" refType="h" fact="0.2022"/>
              <dgm:constr type="w" for="ch" forName="Parent6" refType="w" fact="0.0579"/>
              <dgm:constr type="h" for="ch" forName="Parent6" refType="h" fact="0.3799"/>
              <dgm:constr type="r" for="ch" forName="Parent5" refType="w" fact="0.6105"/>
              <dgm:constr type="t" for="ch" forName="Parent5" refType="h" fact="0.2022"/>
              <dgm:constr type="w" for="ch" forName="Parent5" refType="w" fact="0.0579"/>
              <dgm:constr type="h" for="ch" forName="Parent5" refType="h" fact="0.3799"/>
              <dgm:constr type="r" for="ch" forName="Parent4" refType="w" fact="0.7001"/>
              <dgm:constr type="t" for="ch" forName="Parent4" refType="h" fact="0.2022"/>
              <dgm:constr type="w" for="ch" forName="Parent4" refType="w" fact="0.0579"/>
              <dgm:constr type="h" for="ch" forName="Parent4" refType="h" fact="0.3799"/>
              <dgm:constr type="r" for="ch" forName="Parent3" refType="w" fact="0.7898"/>
              <dgm:constr type="t" for="ch" forName="Parent3" refType="h" fact="0.2022"/>
              <dgm:constr type="w" for="ch" forName="Parent3" refType="w" fact="0.0579"/>
              <dgm:constr type="h" for="ch" forName="Parent3" refType="h" fact="0.3799"/>
              <dgm:constr type="r" for="ch" forName="Parent2" refType="w" fact="0.8795"/>
              <dgm:constr type="t" for="ch" forName="Parent2" refType="h" fact="0.2022"/>
              <dgm:constr type="w" for="ch" forName="Parent2" refType="w" fact="0.0579"/>
              <dgm:constr type="h" for="ch" forName="Parent2" refType="h" fact="0.3799"/>
              <dgm:constr type="r" for="ch" forName="Parent1" refType="w" fact="0.9692"/>
              <dgm:constr type="t" for="ch" forName="Parent1" refType="h" fact="0.2022"/>
              <dgm:constr type="w" for="ch" forName="Parent1" refType="w" fact="0.0579"/>
              <dgm:constr type="h" for="ch" forName="Parent1" refType="h" fact="0.3799"/>
              <dgm:constr type="r" for="ch" forName="Accent11" refType="w" fact="0.0868"/>
              <dgm:constr type="t" for="ch" forName="Accent11" refType="h" fact="0.1072"/>
              <dgm:constr type="w" for="ch" forName="Accent11" refType="w" fact="0.0868"/>
              <dgm:constr type="h" for="ch" forName="Accent11" refType="h" fact="0.5699"/>
              <dgm:constr type="r" for="ch" forName="ParentBackground11" refType="w" fact="0.0839"/>
              <dgm:constr type="t" for="ch" forName="ParentBackground11" refType="h" fact="0.1262"/>
              <dgm:constr type="w" for="ch" forName="ParentBackground11" refType="w" fact="0.081"/>
              <dgm:constr type="h" for="ch" forName="ParentBackground11" refType="h" fact="0.5319"/>
              <dgm:constr type="r" for="ch" forName="Child11" refType="w" fact="0.0839"/>
              <dgm:constr type="t" for="ch" forName="Child11" refType="h" fact="0.6876"/>
              <dgm:constr type="w" for="ch" forName="Child11" refType="w" fact="0.081"/>
              <dgm:constr type="h" for="ch" forName="Child11" refType="h" fact="0.3124"/>
              <dgm:constr type="r" for="ch" forName="Accent10" refType="w" fact="0.1945"/>
              <dgm:constr type="t" for="ch" forName="Accent10" refType="h" fact="-0.0109"/>
              <dgm:constr type="w" for="ch" forName="Accent10" refType="w" fact="0.1228"/>
              <dgm:constr type="h" for="ch" forName="Accent10" refType="h" fact="0.806"/>
              <dgm:constr type="r" for="ch" forName="ParentBackground10" refType="w" fact="0.1736"/>
              <dgm:constr type="t" for="ch" forName="ParentBackground10" refType="h" fact="0.1262"/>
              <dgm:constr type="w" for="ch" forName="ParentBackground10" refType="w" fact="0.081"/>
              <dgm:constr type="h" for="ch" forName="ParentBackground10" refType="h" fact="0.5319"/>
              <dgm:constr type="r" for="ch" forName="Child10" refType="w" fact="0.1736"/>
              <dgm:constr type="t" for="ch" forName="Child10" refType="h" fact="0.6876"/>
              <dgm:constr type="w" for="ch" forName="Child10" refType="w" fact="0.081"/>
              <dgm:constr type="h" for="ch" forName="Child10" refType="h" fact="0.3124"/>
              <dgm:constr type="r" for="ch" forName="Accent9" refType="w" fact="0.2842"/>
              <dgm:constr type="t" for="ch" forName="Accent9" refType="h" fact="-0.0109"/>
              <dgm:constr type="w" for="ch" forName="Accent9" refType="w" fact="0.1228"/>
              <dgm:constr type="h" for="ch" forName="Accent9" refType="h" fact="0.806"/>
              <dgm:constr type="r" for="ch" forName="ParentBackground9" refType="w" fact="0.2633"/>
              <dgm:constr type="t" for="ch" forName="ParentBackground9" refType="h" fact="0.1262"/>
              <dgm:constr type="w" for="ch" forName="ParentBackground9" refType="w" fact="0.081"/>
              <dgm:constr type="h" for="ch" forName="ParentBackground9" refType="h" fact="0.5319"/>
              <dgm:constr type="r" for="ch" forName="Child9" refType="w" fact="0.2633"/>
              <dgm:constr type="t" for="ch" forName="Child9" refType="h" fact="0.6876"/>
              <dgm:constr type="w" for="ch" forName="Child9" refType="w" fact="0.081"/>
              <dgm:constr type="h" for="ch" forName="Child9" refType="h" fact="0.3124"/>
              <dgm:constr type="r" for="ch" forName="Accent8" refType="w" fact="0.3739"/>
              <dgm:constr type="t" for="ch" forName="Accent8" refType="h" fact="-0.0109"/>
              <dgm:constr type="w" for="ch" forName="Accent8" refType="w" fact="0.1228"/>
              <dgm:constr type="h" for="ch" forName="Accent8" refType="h" fact="0.806"/>
              <dgm:constr type="r" for="ch" forName="ParentBackground8" refType="w" fact="0.353"/>
              <dgm:constr type="t" for="ch" forName="ParentBackground8" refType="h" fact="0.1262"/>
              <dgm:constr type="w" for="ch" forName="ParentBackground8" refType="w" fact="0.081"/>
              <dgm:constr type="h" for="ch" forName="ParentBackground8" refType="h" fact="0.5319"/>
              <dgm:constr type="r" for="ch" forName="Child8" refType="w" fact="0.353"/>
              <dgm:constr type="t" for="ch" forName="Child8" refType="h" fact="0.6876"/>
              <dgm:constr type="w" for="ch" forName="Child8" refType="w" fact="0.081"/>
              <dgm:constr type="h" for="ch" forName="Child8" refType="h" fact="0.3124"/>
              <dgm:constr type="r" for="ch" forName="Accent7" refType="w" fact="0.4636"/>
              <dgm:constr type="t" for="ch" forName="Accent7" refType="h" fact="-0.0109"/>
              <dgm:constr type="w" for="ch" forName="Accent7" refType="w" fact="0.1228"/>
              <dgm:constr type="h" for="ch" forName="Accent7" refType="h" fact="0.806"/>
              <dgm:constr type="r" for="ch" forName="ParentBackground7" refType="w" fact="0.4427"/>
              <dgm:constr type="t" for="ch" forName="ParentBackground7" refType="h" fact="0.1262"/>
              <dgm:constr type="w" for="ch" forName="ParentBackground7" refType="w" fact="0.081"/>
              <dgm:constr type="h" for="ch" forName="ParentBackground7" refType="h" fact="0.5319"/>
              <dgm:constr type="r" for="ch" forName="Child7" refType="w" fact="0.4427"/>
              <dgm:constr type="t" for="ch" forName="Child7" refType="h" fact="0.6876"/>
              <dgm:constr type="w" for="ch" forName="Child7" refType="w" fact="0.081"/>
              <dgm:constr type="h" for="ch" forName="Child7" refType="h" fact="0.3124"/>
              <dgm:constr type="r" for="ch" forName="Accent6" refType="w" fact="0.5533"/>
              <dgm:constr type="t" for="ch" forName="Accent6" refType="h" fact="-0.0109"/>
              <dgm:constr type="w" for="ch" forName="Accent6" refType="w" fact="0.1228"/>
              <dgm:constr type="h" for="ch" forName="Accent6" refType="h" fact="0.806"/>
              <dgm:constr type="r" for="ch" forName="ParentBackground6" refType="w" fact="0.5323"/>
              <dgm:constr type="t" for="ch" forName="ParentBackground6" refType="h" fact="0.1262"/>
              <dgm:constr type="w" for="ch" forName="ParentBackground6" refType="w" fact="0.081"/>
              <dgm:constr type="h" for="ch" forName="ParentBackground6" refType="h" fact="0.5319"/>
              <dgm:constr type="r" for="ch" forName="Child6" refType="w" fact="0.5323"/>
              <dgm:constr type="t" for="ch" forName="Child6" refType="h" fact="0.6876"/>
              <dgm:constr type="w" for="ch" forName="Child6" refType="w" fact="0.081"/>
              <dgm:constr type="h" for="ch" forName="Child6" refType="h" fact="0.3124"/>
              <dgm:constr type="r" for="ch" forName="Accent5" refType="w" fact="0.6429"/>
              <dgm:constr type="t" for="ch" forName="Accent5" refType="h" fact="-0.0109"/>
              <dgm:constr type="w" for="ch" forName="Accent5" refType="w" fact="0.1228"/>
              <dgm:constr type="h" for="ch" forName="Accent5" refType="h" fact="0.806"/>
              <dgm:constr type="r" for="ch" forName="ParentBackground5" refType="w" fact="0.622"/>
              <dgm:constr type="t" for="ch" forName="ParentBackground5" refType="h" fact="0.1262"/>
              <dgm:constr type="w" for="ch" forName="ParentBackground5" refType="w" fact="0.081"/>
              <dgm:constr type="h" for="ch" forName="ParentBackground5" refType="h" fact="0.5319"/>
              <dgm:constr type="r" for="ch" forName="Child5" refType="w" fact="0.622"/>
              <dgm:constr type="t" for="ch" forName="Child5" refType="h" fact="0.6876"/>
              <dgm:constr type="w" for="ch" forName="Child5" refType="w" fact="0.081"/>
              <dgm:constr type="h" for="ch" forName="Child5" refType="h" fact="0.3124"/>
              <dgm:constr type="r" for="ch" forName="Accent4" refType="w" fact="0.7326"/>
              <dgm:constr type="t" for="ch" forName="Accent4" refType="h" fact="-0.0109"/>
              <dgm:constr type="w" for="ch" forName="Accent4" refType="w" fact="0.1228"/>
              <dgm:constr type="h" for="ch" forName="Accent4" refType="h" fact="0.806"/>
              <dgm:constr type="r" for="ch" forName="ParentBackground4" refType="w" fact="0.7117"/>
              <dgm:constr type="t" for="ch" forName="ParentBackground4" refType="h" fact="0.1262"/>
              <dgm:constr type="w" for="ch" forName="ParentBackground4" refType="w" fact="0.081"/>
              <dgm:constr type="h" for="ch" forName="ParentBackground4" refType="h" fact="0.5319"/>
              <dgm:constr type="r" for="ch" forName="Child4" refType="w" fact="0.7117"/>
              <dgm:constr type="t" for="ch" forName="Child4" refType="h" fact="0.6876"/>
              <dgm:constr type="w" for="ch" forName="Child4" refType="w" fact="0.081"/>
              <dgm:constr type="h" for="ch" forName="Child4" refType="h" fact="0.3124"/>
              <dgm:constr type="r" for="ch" forName="Accent3" refType="w" fact="0.8223"/>
              <dgm:constr type="t" for="ch" forName="Accent3" refType="h" fact="-0.0109"/>
              <dgm:constr type="w" for="ch" forName="Accent3" refType="w" fact="0.1228"/>
              <dgm:constr type="h" for="ch" forName="Accent3" refType="h" fact="0.806"/>
              <dgm:constr type="r" for="ch" forName="ParentBackground3" refType="w" fact="0.8014"/>
              <dgm:constr type="t" for="ch" forName="ParentBackground3" refType="h" fact="0.1262"/>
              <dgm:constr type="w" for="ch" forName="ParentBackground3" refType="w" fact="0.081"/>
              <dgm:constr type="h" for="ch" forName="ParentBackground3" refType="h" fact="0.5319"/>
              <dgm:constr type="r" for="ch" forName="Child3" refType="w" fact="0.8014"/>
              <dgm:constr type="t" for="ch" forName="Child3" refType="h" fact="0.6876"/>
              <dgm:constr type="w" for="ch" forName="Child3" refType="w" fact="0.081"/>
              <dgm:constr type="h" for="ch" forName="Child3" refType="h" fact="0.3124"/>
              <dgm:constr type="r" for="ch" forName="Accent2" refType="w" fact="0.912"/>
              <dgm:constr type="t" for="ch" forName="Accent2" refType="h" fact="-0.0109"/>
              <dgm:constr type="w" for="ch" forName="Accent2" refType="w" fact="0.1228"/>
              <dgm:constr type="h" for="ch" forName="Accent2" refType="h" fact="0.806"/>
              <dgm:constr type="r" for="ch" forName="ParentBackground2" refType="w" fact="0.8911"/>
              <dgm:constr type="t" for="ch" forName="ParentBackground2" refType="h" fact="0.1262"/>
              <dgm:constr type="w" for="ch" forName="ParentBackground2" refType="w" fact="0.081"/>
              <dgm:constr type="h" for="ch" forName="ParentBackground2" refType="h" fact="0.5319"/>
              <dgm:constr type="r" for="ch" forName="Child2" refType="w" fact="0.8911"/>
              <dgm:constr type="t" for="ch" forName="Child2" refType="h" fact="0.6876"/>
              <dgm:constr type="w" for="ch" forName="Child2" refType="w" fact="0.081"/>
              <dgm:constr type="h" for="ch" forName="Child2" refType="h" fact="0.3124"/>
              <dgm:constr type="r" for="ch" forName="Accent1" refType="w" fact="1.0017"/>
              <dgm:constr type="t" for="ch" forName="Accent1" refType="h" fact="-0.0109"/>
              <dgm:constr type="w" for="ch" forName="Accent1" refType="w" fact="0.1228"/>
              <dgm:constr type="h" for="ch" forName="Accent1" refType="h" fact="0.806"/>
              <dgm:constr type="r" for="ch" forName="ParentBackground1" refType="w" fact="0.9808"/>
              <dgm:constr type="t" for="ch" forName="ParentBackground1" refType="h" fact="0.1262"/>
              <dgm:constr type="w" for="ch" forName="ParentBackground1" refType="w" fact="0.081"/>
              <dgm:constr type="h" for="ch" forName="ParentBackground1" refType="h" fact="0.5319"/>
              <dgm:constr type="r" for="ch" forName="Child1" refType="w" fact="0.9808"/>
              <dgm:constr type="t" for="ch" forName="Child1" refType="h" fact="0.6876"/>
              <dgm:constr type="w" for="ch" forName="Child1" refType="w" fact="0.081"/>
              <dgm:constr type="h" for="ch" forName="Child1" refType="h" fact="0.3124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8">
            <dgm:if name="Name29" axis="followSib" ptType="node" func="cnt" op="equ" val="0">
              <dgm:shape xmlns:r="http://schemas.openxmlformats.org/officeDocument/2006/relationships" type="ellipse" r:blip="">
                <dgm:adjLst/>
              </dgm:shape>
            </dgm:if>
            <dgm:else name="Name30">
              <dgm:choose name="Name31">
                <dgm:if name="Name32" axis="precedSib" ptType="node" func="cnt" op="equ" val="10">
                  <dgm:shape xmlns:r="http://schemas.openxmlformats.org/officeDocument/2006/relationships" type="ellipse" r:blip="">
                    <dgm:adjLst/>
                  </dgm:shape>
                </dgm:if>
                <dgm:else name="Name33">
                  <dgm:choose name="Name34">
                    <dgm:if name="Name35" func="var" arg="dir" op="equ" val="norm">
                      <dgm:shape xmlns:r="http://schemas.openxmlformats.org/officeDocument/2006/relationships" rot="45" type="teardrop" r:blip="">
                        <dgm:adjLst>
                          <dgm:adj idx="1" val="1"/>
                        </dgm:adjLst>
                      </dgm:shape>
                    </dgm:if>
                    <dgm:else name="Name36">
                      <dgm:shape xmlns:r="http://schemas.openxmlformats.org/officeDocument/2006/relationships" rot="225" type="teardrop" r:blip="">
                        <dgm:adjLst>
                          <dgm:adj idx="1" val="1"/>
                        </dgm:adjLst>
                      </dgm:shape>
                    </dgm:else>
                  </dgm:choose>
                </dgm:else>
              </dgm:choose>
            </dgm:else>
          </dgm:choose>
          <dgm:presOf/>
        </dgm:layoutNode>
      </dgm:forEach>
      <dgm:forEach name="parentBackgroundRepeat" axis="self">
        <dgm:layoutNode name="ParentBackground" styleLbl="fgAcc1">
          <dgm:alg type="sp"/>
          <dgm:shape xmlns:r="http://schemas.openxmlformats.org/officeDocument/2006/relationships" type="ellipse" r:blip="">
            <dgm:adjLst/>
          </dgm:shape>
          <dgm:presOf axis="self" ptType="node"/>
        </dgm:layoutNode>
      </dgm:forEach>
    </dgm:forEach>
    <dgm:forEach name="Name37" axis="ch" ptType="node" st="11" cnt="1">
      <dgm:layoutNode name="Accent11">
        <dgm:alg type="sp"/>
        <dgm:shape xmlns:r="http://schemas.openxmlformats.org/officeDocument/2006/relationships" r:blip="">
          <dgm:adjLst/>
        </dgm:shape>
        <dgm:presOf/>
        <dgm:constrLst/>
        <dgm:forEach name="Name38" ref="accentRepeat"/>
      </dgm:layoutNode>
      <dgm:layoutNode name="ParentBackground11">
        <dgm:alg type="sp"/>
        <dgm:shape xmlns:r="http://schemas.openxmlformats.org/officeDocument/2006/relationships" r:blip="">
          <dgm:adjLst/>
        </dgm:shape>
        <dgm:presOf/>
        <dgm:forEach name="Name39" ref="parentBackgroundRepeat"/>
      </dgm:layoutNode>
      <dgm:choose name="Name40">
        <dgm:if name="Name41" axis="ch" ptType="node" func="cnt" op="gte" val="1">
          <dgm:layoutNode name="Child1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2"/>
      </dgm:choose>
      <dgm:layoutNode name="Parent1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3" axis="ch" ptType="node" st="10" cnt="1">
      <dgm:layoutNode name="Accent10">
        <dgm:alg type="sp"/>
        <dgm:shape xmlns:r="http://schemas.openxmlformats.org/officeDocument/2006/relationships" r:blip="">
          <dgm:adjLst/>
        </dgm:shape>
        <dgm:presOf/>
        <dgm:constrLst/>
        <dgm:forEach name="Name44" ref="accentRepeat"/>
      </dgm:layoutNode>
      <dgm:layoutNode name="ParentBackground10">
        <dgm:alg type="sp"/>
        <dgm:shape xmlns:r="http://schemas.openxmlformats.org/officeDocument/2006/relationships" r:blip="">
          <dgm:adjLst/>
        </dgm:shape>
        <dgm:presOf/>
        <dgm:forEach name="Name45" ref="parentBackgroundRepeat"/>
      </dgm:layoutNode>
      <dgm:choose name="Name46">
        <dgm:if name="Name47" axis="ch" ptType="node" func="cnt" op="gte" val="1">
          <dgm:layoutNode name="Child10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48"/>
      </dgm:choose>
      <dgm:layoutNode name="Parent10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49" axis="ch" ptType="node" st="9" cnt="1">
      <dgm:layoutNode name="Accent9">
        <dgm:alg type="sp"/>
        <dgm:shape xmlns:r="http://schemas.openxmlformats.org/officeDocument/2006/relationships" r:blip="">
          <dgm:adjLst/>
        </dgm:shape>
        <dgm:presOf/>
        <dgm:constrLst/>
        <dgm:forEach name="Name50" ref="accentRepeat"/>
      </dgm:layoutNode>
      <dgm:layoutNode name="ParentBackground9">
        <dgm:alg type="sp"/>
        <dgm:shape xmlns:r="http://schemas.openxmlformats.org/officeDocument/2006/relationships" r:blip="">
          <dgm:adjLst/>
        </dgm:shape>
        <dgm:presOf/>
        <dgm:forEach name="Name51" ref="parentBackgroundRepeat"/>
      </dgm:layoutNode>
      <dgm:choose name="Name52">
        <dgm:if name="Name53" axis="ch" ptType="node" func="cnt" op="gte" val="1">
          <dgm:layoutNode name="Child9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4"/>
      </dgm:choose>
      <dgm:layoutNode name="Parent9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55" axis="ch" ptType="node" st="8" cnt="1">
      <dgm:layoutNode name="Accent8">
        <dgm:alg type="sp"/>
        <dgm:shape xmlns:r="http://schemas.openxmlformats.org/officeDocument/2006/relationships" r:blip="">
          <dgm:adjLst/>
        </dgm:shape>
        <dgm:presOf/>
        <dgm:constrLst/>
        <dgm:forEach name="Name56" ref="accentRepeat"/>
      </dgm:layoutNode>
      <dgm:layoutNode name="ParentBackground8">
        <dgm:alg type="sp"/>
        <dgm:shape xmlns:r="http://schemas.openxmlformats.org/officeDocument/2006/relationships" r:blip="">
          <dgm:adjLst/>
        </dgm:shape>
        <dgm:presOf/>
        <dgm:forEach name="Name57" ref="parentBackgroundRepeat"/>
      </dgm:layoutNode>
      <dgm:choose name="Name58">
        <dgm:if name="Name59" axis="ch" ptType="node" func="cnt" op="gte" val="1">
          <dgm:layoutNode name="Child8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0"/>
      </dgm:choose>
      <dgm:layoutNode name="Parent8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1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62" ref="accentRepeat"/>
      </dgm:layoutNode>
      <dgm:layoutNode name="ParentBackground7">
        <dgm:alg type="sp"/>
        <dgm:shape xmlns:r="http://schemas.openxmlformats.org/officeDocument/2006/relationships" r:blip="">
          <dgm:adjLst/>
        </dgm:shape>
        <dgm:presOf/>
        <dgm:forEach name="Name63" ref="parentBackgroundRepeat"/>
      </dgm:layoutNode>
      <dgm:choose name="Name64">
        <dgm:if name="Name65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6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67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68" ref="accentRepeat"/>
      </dgm:layoutNode>
      <dgm:layoutNode name="ParentBackground6">
        <dgm:alg type="sp"/>
        <dgm:shape xmlns:r="http://schemas.openxmlformats.org/officeDocument/2006/relationships" r:blip="">
          <dgm:adjLst/>
        </dgm:shape>
        <dgm:presOf/>
        <dgm:forEach name="Name69" ref="parentBackgroundRepeat"/>
      </dgm:layoutNode>
      <dgm:choose name="Name70">
        <dgm:if name="Name71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3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74" ref="accentRepeat"/>
      </dgm:layoutNode>
      <dgm:layoutNode name="ParentBackground5">
        <dgm:alg type="sp"/>
        <dgm:shape xmlns:r="http://schemas.openxmlformats.org/officeDocument/2006/relationships" r:blip="">
          <dgm:adjLst/>
        </dgm:shape>
        <dgm:presOf/>
        <dgm:forEach name="Name75" ref="parentBackgroundRepeat"/>
      </dgm:layoutNode>
      <dgm:choose name="Name76">
        <dgm:if name="Name77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8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79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80" ref="accentRepeat"/>
      </dgm:layoutNode>
      <dgm:layoutNode name="ParentBackground4">
        <dgm:alg type="sp"/>
        <dgm:shape xmlns:r="http://schemas.openxmlformats.org/officeDocument/2006/relationships" r:blip="">
          <dgm:adjLst/>
        </dgm:shape>
        <dgm:presOf/>
        <dgm:forEach name="Name81" ref="parentBackgroundRepeat"/>
      </dgm:layoutNode>
      <dgm:choose name="Name82">
        <dgm:if name="Name8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layoutNode name="ParentBackground3">
        <dgm:alg type="sp"/>
        <dgm:shape xmlns:r="http://schemas.openxmlformats.org/officeDocument/2006/relationships" r:blip="">
          <dgm:adjLst/>
        </dgm:shape>
        <dgm:presOf/>
        <dgm:forEach name="Name87" ref="parentBackgroundRepeat"/>
      </dgm:layoutNode>
      <dgm:choose name="Name88">
        <dgm:if name="Name89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0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1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92" ref="accentRepeat"/>
      </dgm:layoutNode>
      <dgm:layoutNode name="ParentBackground2" styleLbl="fgAcc1">
        <dgm:alg type="sp"/>
        <dgm:shape xmlns:r="http://schemas.openxmlformats.org/officeDocument/2006/relationships" r:blip="">
          <dgm:adjLst/>
        </dgm:shape>
        <dgm:presOf/>
        <dgm:forEach name="Name93" ref="parentBackgroundRepeat"/>
      </dgm:layoutNode>
      <dgm:choose name="Name94">
        <dgm:if name="Name95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96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97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98" ref="accentRepeat"/>
      </dgm:layoutNode>
      <dgm:layoutNode name="ParentBackground1">
        <dgm:alg type="sp"/>
        <dgm:shape xmlns:r="http://schemas.openxmlformats.org/officeDocument/2006/relationships" r:blip="">
          <dgm:adjLst/>
        </dgm:shape>
        <dgm:presOf/>
        <dgm:forEach name="Name99" ref="parentBackgroundRepeat"/>
      </dgm:layoutNode>
      <dgm:choose name="Name100">
        <dgm:if name="Name101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stBulletLvl" val="1"/>
              <dgm:param type="parTxLTRAlign" val="l"/>
              <dgm:param type="txAnchorVert" val="t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102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4FF165D-7A54-4E03-970C-C79F6FEF8280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EBCE6C26-CFEB-437F-9011-CD62F6B5A3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781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CE6C26-CFEB-437F-9011-CD62F6B5A39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63826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91179" indent="-291179">
              <a:buFont typeface="Arial" panose="020B0604020202020204" pitchFamily="34" charset="0"/>
              <a:buChar char="•"/>
            </a:pP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Cuyahoga River fire: </a:t>
            </a:r>
          </a:p>
          <a:p>
            <a:pPr marL="757066" lvl="1" indent="-291179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Series of fires (13 total) in the polluted Cuyahoga River in Cleveland, Ohio during the mid-20</a:t>
            </a:r>
            <a:r>
              <a:rPr lang="en-US" b="0" i="0" baseline="30000" dirty="0">
                <a:solidFill>
                  <a:srgbClr val="374151"/>
                </a:solidFill>
                <a:effectLst/>
                <a:latin typeface="Söhne"/>
              </a:rPr>
              <a:t>th</a:t>
            </a: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 century.</a:t>
            </a:r>
          </a:p>
          <a:p>
            <a:pPr marL="757066" lvl="1" indent="-291179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Result of industrial waste and pollution: accumulation of oil, debris, &amp; chemicals caused flammability and periodic fires.</a:t>
            </a:r>
          </a:p>
          <a:p>
            <a:pPr marL="757066" lvl="1" indent="-291179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Notable fire on June 22, 1969, gained national attention and sparked U.S. environmental movement. </a:t>
            </a:r>
            <a:endParaRPr lang="en-US" dirty="0">
              <a:solidFill>
                <a:srgbClr val="374151"/>
              </a:solidFill>
              <a:latin typeface="Söhne"/>
            </a:endParaRPr>
          </a:p>
          <a:p>
            <a:pPr marL="291179" indent="-291179">
              <a:buFont typeface="Arial" panose="020B0604020202020204" pitchFamily="34" charset="0"/>
              <a:buChar char="•"/>
            </a:pPr>
            <a:r>
              <a:rPr lang="en-US" b="1" i="0" dirty="0">
                <a:solidFill>
                  <a:srgbClr val="374151"/>
                </a:solidFill>
                <a:effectLst/>
                <a:latin typeface="Söhne"/>
              </a:rPr>
              <a:t>Catalyst for change: </a:t>
            </a:r>
          </a:p>
          <a:p>
            <a:pPr marL="757066" lvl="1" indent="-291179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Prompted efforts to restore the river and improve water quality.</a:t>
            </a:r>
          </a:p>
          <a:p>
            <a:pPr marL="757066" lvl="1" indent="-291179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374151"/>
                </a:solidFill>
                <a:effectLst/>
                <a:latin typeface="Söhne"/>
              </a:rPr>
              <a:t>Led to the formation of the EPA and passage of the Clean Water Act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CE6C26-CFEB-437F-9011-CD62F6B5A39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29046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D9156B-FBB8-438C-B64D-5794AB442490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9B8240-E8FF-4820-858F-2B3B5D574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54876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D9156B-FBB8-438C-B64D-5794AB442490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9B8240-E8FF-4820-858F-2B3B5D574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02118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D9156B-FBB8-438C-B64D-5794AB442490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9B8240-E8FF-4820-858F-2B3B5D574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71361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BLUE BA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95936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203200" cy="6858000"/>
          </a:xfrm>
          <a:prstGeom prst="rect">
            <a:avLst/>
          </a:prstGeom>
          <a:gradFill>
            <a:gsLst>
              <a:gs pos="92000">
                <a:schemeClr val="accent6"/>
              </a:gs>
              <a:gs pos="2000">
                <a:schemeClr val="accent5">
                  <a:lumMod val="20000"/>
                  <a:lumOff val="80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58813" y="660399"/>
            <a:ext cx="4281487" cy="1083559"/>
          </a:xfrm>
          <a:prstGeom prst="rect">
            <a:avLst/>
          </a:prstGeom>
        </p:spPr>
        <p:txBody>
          <a:bodyPr lIns="0" tIns="0" rIns="0" bIns="0"/>
          <a:lstStyle>
            <a:lvl1pPr>
              <a:defRPr sz="4000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8F9F013-A08F-4F24-BA39-F63646E7DD61}"/>
              </a:ext>
            </a:extLst>
          </p:cNvPr>
          <p:cNvSpPr/>
          <p:nvPr userDrawn="1"/>
        </p:nvSpPr>
        <p:spPr>
          <a:xfrm>
            <a:off x="11159612" y="6200775"/>
            <a:ext cx="371987" cy="3651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5BB74A0-1764-4784-AD40-5D48C3D5C2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88400" y="62007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629FD7E3-D117-4B54-94F5-7439B5634B5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 descr="A picture containing flower, bird&#10;&#10;Description automatically generated">
            <a:extLst>
              <a:ext uri="{FF2B5EF4-FFF2-40B4-BE49-F238E27FC236}">
                <a16:creationId xmlns:a16="http://schemas.microsoft.com/office/drawing/2014/main" id="{BFAE6F6C-A1A2-4E5C-B26C-D2EF40CBDA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09104" y="-1"/>
            <a:ext cx="3122496" cy="660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4934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A55C91-4AA8-0998-8C25-8A71C8A32D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E0B916D-5CF1-1F57-825A-126F6BBA04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2DD53A-CBEA-FD9C-2E71-5BCF064636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D9156B-FBB8-438C-B64D-5794AB442490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0AAA95-4815-F837-BC14-762F2EFE0C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EA6D05-D797-29D6-D00A-D679EB66C8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9B8240-E8FF-4820-858F-2B3B5D574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07144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D144F-D7CF-ECF2-B3D9-62BD543955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E94E0-E034-223D-067F-1D9C985934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FFB949-E67E-56EB-4419-538C317088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D9156B-FBB8-438C-B64D-5794AB442490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DE4150-74AD-843C-6792-F513CE6DD1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9830F1-266C-28B0-47E5-1A14919900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9B8240-E8FF-4820-858F-2B3B5D5742FC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7E22917F-E9AD-280A-6C1A-D819C2C7C6D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4054" y="133508"/>
            <a:ext cx="932992" cy="463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8531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435CAA-4AAB-86BA-2D62-322B51D077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C3F60C-DD4A-CB2A-32A0-EBBDA16970D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912173-935A-FAB4-F0DF-DFF3F1A3E5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D9156B-FBB8-438C-B64D-5794AB442490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FA2779-6667-DACF-E50D-52BFD7D8C7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58F301-6F1D-DD4D-B9B8-47DB55200B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9B8240-E8FF-4820-858F-2B3B5D574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56115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1E1CC9-9235-F39A-F6B1-2B0BE8DD03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86FE315-827A-BD38-2DA5-687AA96826A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75392C-97DD-2178-6489-54F747F4E2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786E21F-9E9A-BC34-03A6-1FFD8F52B0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D9156B-FBB8-438C-B64D-5794AB442490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99D487F-26AF-E2DD-6854-7298BD2041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9EE8D2F-865A-62A3-12FC-3477EDB389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9B8240-E8FF-4820-858F-2B3B5D574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0394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9AA66B-C921-D7DE-FAF6-6EABB8BCF4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F5B53D-088B-02B1-E9F9-0E60DF0C8B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BEC667F-0180-793D-12EF-D8469F09BDA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71537A4-9F62-BA1F-95B9-80DEE828A42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26E0B9E-227B-9035-0258-7DC9F147413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A1B71EF-1151-006E-7664-8D710FE932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D9156B-FBB8-438C-B64D-5794AB442490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5093138-04AF-778D-172F-22AE3947AF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8AA3EAA-8B5D-6717-5325-E150924EA9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9B8240-E8FF-4820-858F-2B3B5D574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2903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2F31ED-A135-CC9A-FC67-C2C1C19DC9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B37F504-8961-D3D3-D7FE-84BA1D0CC0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D9156B-FBB8-438C-B64D-5794AB442490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4539132-9C68-D9C9-6D32-02016FBCED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6F99D5-49AA-596D-76A7-F1E35FC2DA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9B8240-E8FF-4820-858F-2B3B5D574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80575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77D844A-7106-A5C2-A185-85297316F5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D9156B-FBB8-438C-B64D-5794AB442490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08CA3A7-F6D0-0F37-7B20-A135F1EF0B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C65DCB-161D-7109-6768-1429845A8C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9B8240-E8FF-4820-858F-2B3B5D574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9669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D9156B-FBB8-438C-B64D-5794AB442490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9B8240-E8FF-4820-858F-2B3B5D5742FC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E4F9391E-4C21-C2E8-496B-97D4E3E7F5C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4054" y="133508"/>
            <a:ext cx="932992" cy="463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564482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B30FFE-C990-C306-19B4-7071680231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DED856-8B91-3008-7636-8ABD65CDAE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39A3A6-A703-09FB-F4E1-CA773363AF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802C85E-EDDA-0593-3FD3-4D740CAAA3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D9156B-FBB8-438C-B64D-5794AB442490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0F15F2-E2FF-D936-097B-4B2EBC65FC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15EFDD-6E0E-B4A3-CC8F-3D3BB8712B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9B8240-E8FF-4820-858F-2B3B5D574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0637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07894C-A482-CD66-E67C-E89D698136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620B700-96CB-5DA2-F4A6-65EC9375834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253BBD9-9777-AC82-9865-44175AA107D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990A6A1-8BC2-C25C-BB0E-52DD4E28C8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D9156B-FBB8-438C-B64D-5794AB442490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D0C7547-35E6-6FDE-EBEB-894F867C77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BC31A08-EE3E-0820-B112-9E8F8294E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9B8240-E8FF-4820-858F-2B3B5D574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10732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6ADA71-F6EC-D36F-A26D-CD224E72D4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17B9B32-B752-37F8-41EE-BF0F4133552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BCB0740-4C30-CEEF-0F98-5503C84F10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D9156B-FBB8-438C-B64D-5794AB442490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049D8C-625D-AC80-4EC9-320D95D55C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0E6B69-004F-92DF-E8B5-4815F661CA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9B8240-E8FF-4820-858F-2B3B5D574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13350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B1E33A1-A753-CA1F-FF03-064276B5164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C71DCA4-074B-976E-823B-7445E2FD019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06FBDF-40A7-AA7E-D942-C87C59734D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D9156B-FBB8-438C-B64D-5794AB442490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F3160A-FF30-3D3E-4C2C-D5DD9234FC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7A1DD3-63FA-6CF8-84DA-B7F45417F8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9B8240-E8FF-4820-858F-2B3B5D574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84550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ITE_BLUE BA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95936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 userDrawn="1"/>
        </p:nvSpPr>
        <p:spPr>
          <a:xfrm>
            <a:off x="0" y="0"/>
            <a:ext cx="203200" cy="6858000"/>
          </a:xfrm>
          <a:prstGeom prst="rect">
            <a:avLst/>
          </a:prstGeom>
          <a:gradFill>
            <a:gsLst>
              <a:gs pos="92000">
                <a:schemeClr val="accent6"/>
              </a:gs>
              <a:gs pos="2000">
                <a:schemeClr val="accent5">
                  <a:lumMod val="20000"/>
                  <a:lumOff val="80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658813" y="660399"/>
            <a:ext cx="4281487" cy="1083559"/>
          </a:xfrm>
          <a:prstGeom prst="rect">
            <a:avLst/>
          </a:prstGeom>
        </p:spPr>
        <p:txBody>
          <a:bodyPr lIns="0" tIns="0" rIns="0" bIns="0"/>
          <a:lstStyle>
            <a:lvl1pPr>
              <a:defRPr sz="4000">
                <a:solidFill>
                  <a:srgbClr val="5D5B6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8F9F013-A08F-4F24-BA39-F63646E7DD61}"/>
              </a:ext>
            </a:extLst>
          </p:cNvPr>
          <p:cNvSpPr/>
          <p:nvPr userDrawn="1"/>
        </p:nvSpPr>
        <p:spPr>
          <a:xfrm>
            <a:off x="11159612" y="6200775"/>
            <a:ext cx="371987" cy="3651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5BB74A0-1764-4784-AD40-5D48C3D5C2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88400" y="62007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629FD7E3-D117-4B54-94F5-7439B5634B5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 descr="A picture containing flower, bird&#10;&#10;Description automatically generated">
            <a:extLst>
              <a:ext uri="{FF2B5EF4-FFF2-40B4-BE49-F238E27FC236}">
                <a16:creationId xmlns:a16="http://schemas.microsoft.com/office/drawing/2014/main" id="{BFAE6F6C-A1A2-4E5C-B26C-D2EF40CBDA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09104" y="-1"/>
            <a:ext cx="3122496" cy="6604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98660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D9156B-FBB8-438C-B64D-5794AB442490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9B8240-E8FF-4820-858F-2B3B5D574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59430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D9156B-FBB8-438C-B64D-5794AB442490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9B8240-E8FF-4820-858F-2B3B5D574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86112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D9156B-FBB8-438C-B64D-5794AB442490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9B8240-E8FF-4820-858F-2B3B5D574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95258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D9156B-FBB8-438C-B64D-5794AB442490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9B8240-E8FF-4820-858F-2B3B5D574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814782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D9156B-FBB8-438C-B64D-5794AB442490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9B8240-E8FF-4820-858F-2B3B5D574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03767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D9156B-FBB8-438C-B64D-5794AB442490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9B8240-E8FF-4820-858F-2B3B5D574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03457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D9156B-FBB8-438C-B64D-5794AB442490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E9B8240-E8FF-4820-858F-2B3B5D5742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3694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D9156B-FBB8-438C-B64D-5794AB442490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9B8240-E8FF-4820-858F-2B3B5D5742FC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24E6F1F-B393-4276-7C56-177EA5CA7EF8}"/>
              </a:ext>
            </a:extLst>
          </p:cNvPr>
          <p:cNvSpPr/>
          <p:nvPr userDrawn="1"/>
        </p:nvSpPr>
        <p:spPr>
          <a:xfrm>
            <a:off x="-1" y="6356350"/>
            <a:ext cx="12192000" cy="51057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URBAN WATER </a:t>
            </a:r>
            <a:r>
              <a:rPr lang="en-US" dirty="0"/>
              <a:t>INSTITUTE</a:t>
            </a:r>
          </a:p>
        </p:txBody>
      </p:sp>
    </p:spTree>
    <p:extLst>
      <p:ext uri="{BB962C8B-B14F-4D97-AF65-F5344CB8AC3E}">
        <p14:creationId xmlns:p14="http://schemas.microsoft.com/office/powerpoint/2010/main" val="2393051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2">
                <a:lumMod val="50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4FAFF9-ED19-C001-BB74-EFBE1C4CA9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04D7750-7BCB-26ED-79FA-3B860CC42D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8727C1E-106E-A1FC-1277-EBA99E1E65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D9156B-FBB8-438C-B64D-5794AB442490}" type="datetimeFigureOut">
              <a:rPr lang="en-US" smtClean="0"/>
              <a:t>8/22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CDFAEF-5878-BAF0-F504-0F6C043CFC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55943F-302E-056B-C30C-F4113B1CB47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9B8240-E8FF-4820-858F-2B3B5D5742FC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D4841EE-73B6-EAA1-B535-D5478C74B928}"/>
              </a:ext>
            </a:extLst>
          </p:cNvPr>
          <p:cNvSpPr/>
          <p:nvPr userDrawn="1"/>
        </p:nvSpPr>
        <p:spPr>
          <a:xfrm>
            <a:off x="-1" y="6356350"/>
            <a:ext cx="12192000" cy="510570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/>
              <a:t>URBAN WATER </a:t>
            </a:r>
            <a:r>
              <a:rPr lang="en-US" dirty="0"/>
              <a:t>INSTITUTE</a:t>
            </a:r>
          </a:p>
        </p:txBody>
      </p:sp>
    </p:spTree>
    <p:extLst>
      <p:ext uri="{BB962C8B-B14F-4D97-AF65-F5344CB8AC3E}">
        <p14:creationId xmlns:p14="http://schemas.microsoft.com/office/powerpoint/2010/main" val="1725814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microsoft.com/office/2011/relationships/webextension" Target="../webextensions/webextension2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microsoft.com/office/2011/relationships/webextension" Target="../webextensions/webextension3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microsoft.com/office/2011/relationships/webextension" Target="../webextensions/webextension4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9.png"/><Relationship Id="rId4" Type="http://schemas.microsoft.com/office/2011/relationships/webextension" Target="../webextensions/webextension5.xml"/></Relationships>
</file>

<file path=ppt/slides/_rels/slide1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13" Type="http://schemas.openxmlformats.org/officeDocument/2006/relationships/image" Target="../media/image31.png"/><Relationship Id="rId3" Type="http://schemas.openxmlformats.org/officeDocument/2006/relationships/image" Target="../media/image51.svg"/><Relationship Id="rId7" Type="http://schemas.openxmlformats.org/officeDocument/2006/relationships/diagramColors" Target="../diagrams/colors4.xml"/><Relationship Id="rId12" Type="http://schemas.openxmlformats.org/officeDocument/2006/relationships/image" Target="../media/image30.pn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2.xml"/><Relationship Id="rId6" Type="http://schemas.openxmlformats.org/officeDocument/2006/relationships/diagramQuickStyle" Target="../diagrams/quickStyle4.xml"/><Relationship Id="rId11" Type="http://schemas.openxmlformats.org/officeDocument/2006/relationships/image" Target="../media/image28.png"/><Relationship Id="rId5" Type="http://schemas.openxmlformats.org/officeDocument/2006/relationships/diagramLayout" Target="../diagrams/layout4.xml"/><Relationship Id="rId10" Type="http://schemas.openxmlformats.org/officeDocument/2006/relationships/image" Target="../media/image53.png"/><Relationship Id="rId4" Type="http://schemas.openxmlformats.org/officeDocument/2006/relationships/diagramData" Target="../diagrams/data4.xml"/><Relationship Id="rId9" Type="http://schemas.openxmlformats.org/officeDocument/2006/relationships/image" Target="../media/image52.png"/><Relationship Id="rId14" Type="http://schemas.openxmlformats.org/officeDocument/2006/relationships/image" Target="../media/image3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10.png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9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microsoft.com/office/2011/relationships/webextension" Target="../webextensions/webextension1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10" Type="http://schemas.openxmlformats.org/officeDocument/2006/relationships/image" Target="../media/image26.svg"/><Relationship Id="rId4" Type="http://schemas.openxmlformats.org/officeDocument/2006/relationships/image" Target="../media/image20.svg"/><Relationship Id="rId9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A67A1B41-9F6D-9EA1-99E7-2932C94CE515}"/>
              </a:ext>
            </a:extLst>
          </p:cNvPr>
          <p:cNvSpPr/>
          <p:nvPr/>
        </p:nvSpPr>
        <p:spPr>
          <a:xfrm>
            <a:off x="-1" y="4672620"/>
            <a:ext cx="12191999" cy="1453098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72BA23D-6362-0EB8-3EE7-6430A78D519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0071" b="15685"/>
          <a:stretch/>
        </p:blipFill>
        <p:spPr>
          <a:xfrm>
            <a:off x="1" y="0"/>
            <a:ext cx="12191999" cy="359251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151B5F39-4D32-C64E-CE49-A0CD3AB57187}"/>
              </a:ext>
            </a:extLst>
          </p:cNvPr>
          <p:cNvSpPr/>
          <p:nvPr/>
        </p:nvSpPr>
        <p:spPr>
          <a:xfrm>
            <a:off x="0" y="6229349"/>
            <a:ext cx="12192000" cy="62865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E3EC04D-DB73-1FB5-E4EF-4EA983DFDE33}"/>
              </a:ext>
            </a:extLst>
          </p:cNvPr>
          <p:cNvSpPr txBox="1"/>
          <p:nvPr/>
        </p:nvSpPr>
        <p:spPr>
          <a:xfrm>
            <a:off x="3383253" y="4867275"/>
            <a:ext cx="7961022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Every Drop, </a:t>
            </a:r>
            <a:r>
              <a:rPr lang="en-US" sz="2800" b="1">
                <a:solidFill>
                  <a:schemeClr val="bg1"/>
                </a:solidFill>
              </a:rPr>
              <a:t>Not Everywhere</a:t>
            </a:r>
            <a:r>
              <a:rPr lang="en-US" sz="2800" b="1" dirty="0">
                <a:solidFill>
                  <a:schemeClr val="bg1"/>
                </a:solidFill>
              </a:rPr>
              <a:t>, and Not All At Once</a:t>
            </a:r>
          </a:p>
          <a:p>
            <a:r>
              <a:rPr lang="en-US" sz="2000" dirty="0">
                <a:solidFill>
                  <a:schemeClr val="bg1"/>
                </a:solidFill>
              </a:rPr>
              <a:t>August 23-25 | San Diego, CA</a:t>
            </a:r>
          </a:p>
          <a:p>
            <a:endParaRPr lang="en-US" sz="2000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8B7CBB4-DC5E-8B87-5CAF-2C388EE3A40E}"/>
              </a:ext>
            </a:extLst>
          </p:cNvPr>
          <p:cNvSpPr txBox="1"/>
          <p:nvPr/>
        </p:nvSpPr>
        <p:spPr>
          <a:xfrm>
            <a:off x="6543675" y="486727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7F37A12-E2C5-F0FC-1A48-81FAED60F4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125719"/>
            <a:ext cx="12191999" cy="926936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34725D5-5916-5BE3-F1DF-B120CD9311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" y="3592512"/>
            <a:ext cx="12191999" cy="107578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93DFDE40-1085-5BD9-F7C5-78C220842B12}"/>
              </a:ext>
            </a:extLst>
          </p:cNvPr>
          <p:cNvSpPr/>
          <p:nvPr/>
        </p:nvSpPr>
        <p:spPr>
          <a:xfrm>
            <a:off x="942975" y="0"/>
            <a:ext cx="2257425" cy="6858000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bg1"/>
                </a:solidFill>
              </a:rPr>
              <a:t>UWI 2023 </a:t>
            </a:r>
          </a:p>
          <a:p>
            <a:pPr algn="ctr"/>
            <a:r>
              <a:rPr lang="en-US" sz="2800" dirty="0">
                <a:solidFill>
                  <a:schemeClr val="bg1"/>
                </a:solidFill>
              </a:rPr>
              <a:t>ANNUAL CONFERENC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F8ED667-8688-7828-445B-F3F594D145C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5881" y="635828"/>
            <a:ext cx="2234519" cy="1280287"/>
          </a:xfrm>
          <a:prstGeom prst="rect">
            <a:avLst/>
          </a:prstGeom>
          <a:effectLst>
            <a:outerShdw blurRad="50800" dist="50800" dir="5400000" algn="ctr" rotWithShape="0">
              <a:schemeClr val="tx2">
                <a:lumMod val="75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318651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6F5A5072-7B47-4D32-B52A-4EBBF590B8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715DAF0-AE1B-46C9-8A6B-DB2AA05AB9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2" y="-22693"/>
            <a:ext cx="12191999" cy="4374129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rgbClr val="000000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016219D-510E-4184-9090-6D5578A87B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3908719" y="-3931841"/>
            <a:ext cx="4374557" cy="12192000"/>
          </a:xfrm>
          <a:prstGeom prst="rect">
            <a:avLst/>
          </a:prstGeom>
          <a:gradFill>
            <a:gsLst>
              <a:gs pos="40000">
                <a:schemeClr val="accent1">
                  <a:alpha val="0"/>
                </a:schemeClr>
              </a:gs>
              <a:gs pos="100000">
                <a:schemeClr val="accent1">
                  <a:lumMod val="75000"/>
                  <a:alpha val="52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FF4A713-7B75-4B21-90D7-5AB19547C7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4136696" y="-3703868"/>
            <a:ext cx="4374128" cy="11736479"/>
          </a:xfrm>
          <a:prstGeom prst="rect">
            <a:avLst/>
          </a:prstGeom>
          <a:gradFill>
            <a:gsLst>
              <a:gs pos="17000">
                <a:schemeClr val="accent1">
                  <a:alpha val="0"/>
                </a:schemeClr>
              </a:gs>
              <a:gs pos="100000">
                <a:srgbClr val="000000">
                  <a:alpha val="37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C631C0B-6DA6-4E57-8231-CE32B3434A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5" y="-22690"/>
            <a:ext cx="8542485" cy="4374126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  <a:alpha val="0"/>
                </a:schemeClr>
              </a:gs>
              <a:gs pos="100000">
                <a:srgbClr val="000000">
                  <a:alpha val="25000"/>
                </a:srgb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C29501E6-A978-4A61-9689-9085AF97A5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2508972">
            <a:off x="5945431" y="-1032053"/>
            <a:ext cx="4990147" cy="4439131"/>
          </a:xfrm>
          <a:custGeom>
            <a:avLst/>
            <a:gdLst>
              <a:gd name="connsiteX0" fmla="*/ 4990147 w 4990147"/>
              <a:gd name="connsiteY0" fmla="*/ 2229378 h 4439131"/>
              <a:gd name="connsiteX1" fmla="*/ 917384 w 4990147"/>
              <a:gd name="connsiteY1" fmla="*/ 4439131 h 4439131"/>
              <a:gd name="connsiteX2" fmla="*/ 910814 w 4990147"/>
              <a:gd name="connsiteY2" fmla="*/ 4434219 h 4439131"/>
              <a:gd name="connsiteX3" fmla="*/ 0 w 4990147"/>
              <a:gd name="connsiteY3" fmla="*/ 2502877 h 4439131"/>
              <a:gd name="connsiteX4" fmla="*/ 2502877 w 4990147"/>
              <a:gd name="connsiteY4" fmla="*/ 0 h 4439131"/>
              <a:gd name="connsiteX5" fmla="*/ 4954904 w 4990147"/>
              <a:gd name="connsiteY5" fmla="*/ 1998460 h 4439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90147" h="4439131">
                <a:moveTo>
                  <a:pt x="4990147" y="2229378"/>
                </a:moveTo>
                <a:lnTo>
                  <a:pt x="917384" y="4439131"/>
                </a:lnTo>
                <a:lnTo>
                  <a:pt x="910814" y="4434219"/>
                </a:lnTo>
                <a:cubicBezTo>
                  <a:pt x="354557" y="3975154"/>
                  <a:pt x="0" y="3280421"/>
                  <a:pt x="0" y="2502877"/>
                </a:cubicBezTo>
                <a:cubicBezTo>
                  <a:pt x="0" y="1120576"/>
                  <a:pt x="1120576" y="0"/>
                  <a:pt x="2502877" y="0"/>
                </a:cubicBezTo>
                <a:cubicBezTo>
                  <a:pt x="3712390" y="0"/>
                  <a:pt x="4721520" y="857941"/>
                  <a:pt x="4954904" y="1998460"/>
                </a:cubicBezTo>
                <a:close/>
              </a:path>
            </a:pathLst>
          </a:custGeom>
          <a:gradFill>
            <a:gsLst>
              <a:gs pos="0">
                <a:schemeClr val="accent1">
                  <a:alpha val="22000"/>
                </a:schemeClr>
              </a:gs>
              <a:gs pos="87000">
                <a:schemeClr val="accent1">
                  <a:lumMod val="60000"/>
                  <a:lumOff val="40000"/>
                  <a:alpha val="2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5CFCC9-A92E-4F09-1BC7-39CF8FED8E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40788" y="72026"/>
            <a:ext cx="10053763" cy="221635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l"/>
            <a:r>
              <a:rPr lang="en-US" sz="4800" b="1" dirty="0">
                <a:solidFill>
                  <a:schemeClr val="bg1"/>
                </a:solidFill>
              </a:rPr>
              <a:t>The Futur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166A301-842F-5DFE-1B73-30125F7128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90383" y="983005"/>
            <a:ext cx="6401693" cy="2124371"/>
          </a:xfrm>
          <a:prstGeom prst="rect">
            <a:avLst/>
          </a:prstGeom>
        </p:spPr>
      </p:pic>
      <p:pic>
        <p:nvPicPr>
          <p:cNvPr id="4" name="Picture 60" descr="A picture containing diagram&#10;&#10;Description automatically generated">
            <a:extLst>
              <a:ext uri="{FF2B5EF4-FFF2-40B4-BE49-F238E27FC236}">
                <a16:creationId xmlns:a16="http://schemas.microsoft.com/office/drawing/2014/main" id="{5764E05D-4DC9-9C24-F65A-A1E6A60E41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78107" y="4318763"/>
            <a:ext cx="1932069" cy="2474165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5" name="Picture 61" descr="A picture containing shape&#10;&#10;Description automatically generated">
            <a:extLst>
              <a:ext uri="{FF2B5EF4-FFF2-40B4-BE49-F238E27FC236}">
                <a16:creationId xmlns:a16="http://schemas.microsoft.com/office/drawing/2014/main" id="{BBE79462-2BA3-9B01-BA3C-7741CE62CA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6470" y="4321637"/>
            <a:ext cx="1898643" cy="2467116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7" name="Picture 62" descr="A picture containing diagram&#10;&#10;Description automatically generated">
            <a:extLst>
              <a:ext uri="{FF2B5EF4-FFF2-40B4-BE49-F238E27FC236}">
                <a16:creationId xmlns:a16="http://schemas.microsoft.com/office/drawing/2014/main" id="{08465AAD-2C01-AD80-272C-FF1D40A9A54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37119" y="4327466"/>
            <a:ext cx="1898643" cy="2477082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9" name="Picture 63" descr="A picture containing shape&#10;&#10;Description automatically generated">
            <a:extLst>
              <a:ext uri="{FF2B5EF4-FFF2-40B4-BE49-F238E27FC236}">
                <a16:creationId xmlns:a16="http://schemas.microsoft.com/office/drawing/2014/main" id="{AC5582F4-2688-6748-D69B-26105BE2BB9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80298" y="4322930"/>
            <a:ext cx="1940426" cy="2500335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0" name="Picture 64" descr="A picture containing diagram&#10;&#10;Description automatically generated">
            <a:extLst>
              <a:ext uri="{FF2B5EF4-FFF2-40B4-BE49-F238E27FC236}">
                <a16:creationId xmlns:a16="http://schemas.microsoft.com/office/drawing/2014/main" id="{DFAC1667-B20B-1AAC-5D4E-350DD539349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94947" y="4320345"/>
            <a:ext cx="1940426" cy="2506672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044C483-F119-645B-4D4B-194BF9E6A9A7}"/>
              </a:ext>
            </a:extLst>
          </p:cNvPr>
          <p:cNvSpPr txBox="1"/>
          <p:nvPr/>
        </p:nvSpPr>
        <p:spPr>
          <a:xfrm>
            <a:off x="451461" y="3757071"/>
            <a:ext cx="18986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Sustainabilit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9D887F6-9BD0-E492-1CEC-5AE20CEDF9F8}"/>
              </a:ext>
            </a:extLst>
          </p:cNvPr>
          <p:cNvSpPr txBox="1"/>
          <p:nvPr/>
        </p:nvSpPr>
        <p:spPr>
          <a:xfrm>
            <a:off x="2844198" y="3796514"/>
            <a:ext cx="18986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Technology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22CC9B1-9C3E-48B4-9AE6-82C034D93917}"/>
              </a:ext>
            </a:extLst>
          </p:cNvPr>
          <p:cNvSpPr txBox="1"/>
          <p:nvPr/>
        </p:nvSpPr>
        <p:spPr>
          <a:xfrm>
            <a:off x="5137118" y="3757071"/>
            <a:ext cx="18986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Economic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18FF98BD-57BB-8F65-4F41-0BAD2233FA09}"/>
              </a:ext>
            </a:extLst>
          </p:cNvPr>
          <p:cNvSpPr txBox="1"/>
          <p:nvPr/>
        </p:nvSpPr>
        <p:spPr>
          <a:xfrm>
            <a:off x="7522081" y="3731362"/>
            <a:ext cx="189864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Governance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BA5BEB5-F58A-1126-CF8D-476684EF2C0E}"/>
              </a:ext>
            </a:extLst>
          </p:cNvPr>
          <p:cNvSpPr txBox="1"/>
          <p:nvPr/>
        </p:nvSpPr>
        <p:spPr>
          <a:xfrm>
            <a:off x="9723599" y="3520439"/>
            <a:ext cx="213082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Social and Demographics</a:t>
            </a:r>
          </a:p>
        </p:txBody>
      </p:sp>
    </p:spTree>
    <p:extLst>
      <p:ext uri="{BB962C8B-B14F-4D97-AF65-F5344CB8AC3E}">
        <p14:creationId xmlns:p14="http://schemas.microsoft.com/office/powerpoint/2010/main" val="3740512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fade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we="http://schemas.microsoft.com/office/webextensions/webextension/2010/11" xmlns:pca="http://schemas.microsoft.com/office/powerpoint/2013/contentapp">
        <mc:Choice Requires="we pca">
          <p:graphicFrame>
            <p:nvGraphicFramePr>
              <p:cNvPr id="2" name="Add-in 1" title="Mentimeter - Interactive Presentations">
                <a:extLst>
                  <a:ext uri="{FF2B5EF4-FFF2-40B4-BE49-F238E27FC236}">
                    <a16:creationId xmlns:a16="http://schemas.microsoft.com/office/drawing/2014/main" id="{B2147F07-C2F1-98DF-779A-EA3AEED34ADE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049095664"/>
                  </p:ext>
                </p:extLst>
              </p:nvPr>
            </p:nvGraphicFramePr>
            <p:xfrm>
              <a:off x="572655" y="840509"/>
              <a:ext cx="11176000" cy="5347855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2" name="Add-in 1" title="Mentimeter - Interactive Presentations">
                <a:extLst>
                  <a:ext uri="{FF2B5EF4-FFF2-40B4-BE49-F238E27FC236}">
                    <a16:creationId xmlns:a16="http://schemas.microsoft.com/office/drawing/2014/main" id="{B2147F07-C2F1-98DF-779A-EA3AEED34AD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72655" y="840509"/>
                <a:ext cx="11176000" cy="5347855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235350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54A8C80A-C78A-4F51-A160-4709C0AADE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8240" y="179492"/>
            <a:ext cx="9875520" cy="755590"/>
          </a:xfrm>
        </p:spPr>
        <p:txBody>
          <a:bodyPr>
            <a:normAutofit/>
          </a:bodyPr>
          <a:lstStyle/>
          <a:p>
            <a:pPr algn="ctr"/>
            <a:r>
              <a:rPr lang="en-US" sz="3840" b="1" dirty="0">
                <a:ea typeface="Open Sans" panose="020B0606030504020204" pitchFamily="34" charset="0"/>
                <a:cs typeface="Open Sans" panose="020B0606030504020204" pitchFamily="34" charset="0"/>
              </a:rPr>
              <a:t>What will 2050 Look Like?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9F94669-2AB1-4DA7-9C3C-9DFEE53CED6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12457" b="21526"/>
          <a:stretch/>
        </p:blipFill>
        <p:spPr>
          <a:xfrm>
            <a:off x="1028184" y="1157157"/>
            <a:ext cx="4986854" cy="251452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A2B6BC89-6568-15C8-183C-90770CF0389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93550" y="1160522"/>
            <a:ext cx="4470266" cy="251452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F5C8566D-F60B-3891-FB31-A8796D1F7D9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4947" b="10224"/>
          <a:stretch/>
        </p:blipFill>
        <p:spPr>
          <a:xfrm>
            <a:off x="4437680" y="3900488"/>
            <a:ext cx="4249120" cy="225742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537397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14:reveal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9">
            <a:extLst>
              <a:ext uri="{FF2B5EF4-FFF2-40B4-BE49-F238E27FC236}">
                <a16:creationId xmlns:a16="http://schemas.microsoft.com/office/drawing/2014/main" id="{AB8C311F-7253-4AED-9701-7FC0708C4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1">
            <a:extLst>
              <a:ext uri="{FF2B5EF4-FFF2-40B4-BE49-F238E27FC236}">
                <a16:creationId xmlns:a16="http://schemas.microsoft.com/office/drawing/2014/main" id="{E2384209-CB15-4CDF-9D31-C44FD9A3F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2666617" y="-2666188"/>
            <a:ext cx="6858000" cy="12191233"/>
          </a:xfrm>
          <a:prstGeom prst="rect">
            <a:avLst/>
          </a:prstGeom>
          <a:gradFill>
            <a:gsLst>
              <a:gs pos="8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3">
            <a:extLst>
              <a:ext uri="{FF2B5EF4-FFF2-40B4-BE49-F238E27FC236}">
                <a16:creationId xmlns:a16="http://schemas.microsoft.com/office/drawing/2014/main" id="{2633B3B5-CC90-43F0-8714-D31D1F3F0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2311" y="0"/>
            <a:ext cx="9070846" cy="6857572"/>
          </a:xfrm>
          <a:prstGeom prst="rect">
            <a:avLst/>
          </a:prstGeom>
          <a:gradFill>
            <a:gsLst>
              <a:gs pos="8000">
                <a:srgbClr val="000000">
                  <a:alpha val="52000"/>
                </a:srgbClr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8D57A06-A426-446D-B02C-A2DC6B62E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649491" y="-1685840"/>
            <a:ext cx="4894564" cy="12193546"/>
          </a:xfrm>
          <a:prstGeom prst="rect">
            <a:avLst/>
          </a:prstGeom>
          <a:gradFill>
            <a:gsLst>
              <a:gs pos="0">
                <a:schemeClr val="accent5">
                  <a:lumMod val="60000"/>
                  <a:lumOff val="40000"/>
                  <a:alpha val="0"/>
                </a:schemeClr>
              </a:gs>
              <a:gs pos="100000">
                <a:srgbClr val="000000">
                  <a:alpha val="46000"/>
                </a:srgbClr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BC40E32-A7CE-E7A4-E791-02BB5A641FC4}"/>
              </a:ext>
            </a:extLst>
          </p:cNvPr>
          <p:cNvSpPr txBox="1"/>
          <p:nvPr/>
        </p:nvSpPr>
        <p:spPr>
          <a:xfrm>
            <a:off x="457200" y="2290012"/>
            <a:ext cx="7029450" cy="2277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 defTabSz="905256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4400" b="1" kern="1200" dirty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5 Think Tanks</a:t>
            </a:r>
          </a:p>
          <a:p>
            <a:pPr marL="571500" indent="-571500" defTabSz="905256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4400" b="1" kern="1200" dirty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124 Experts</a:t>
            </a:r>
          </a:p>
          <a:p>
            <a:pPr marL="571500" indent="-571500" defTabSz="905256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4400" b="1" kern="1200" dirty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rPr>
              <a:t>47 Total Recommendations</a:t>
            </a:r>
            <a:endParaRPr lang="en-US" sz="4400" b="1" dirty="0">
              <a:solidFill>
                <a:schemeClr val="bg1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" name="Picture 1" descr="A blue and grey logo&#10;&#10;Description automatically generated">
            <a:extLst>
              <a:ext uri="{FF2B5EF4-FFF2-40B4-BE49-F238E27FC236}">
                <a16:creationId xmlns:a16="http://schemas.microsoft.com/office/drawing/2014/main" id="{630E28B5-9F67-F0B1-E1B2-7507ECD032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02876" y="796671"/>
            <a:ext cx="6431924" cy="213440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FE1A16D-28D1-EB1F-2415-A4DE54821345}"/>
              </a:ext>
            </a:extLst>
          </p:cNvPr>
          <p:cNvSpPr txBox="1"/>
          <p:nvPr/>
        </p:nvSpPr>
        <p:spPr>
          <a:xfrm>
            <a:off x="7048231" y="4893921"/>
            <a:ext cx="4396056" cy="1569660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48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What are the Game Changers?</a:t>
            </a:r>
            <a:endParaRPr lang="en-US" sz="4800" dirty="0"/>
          </a:p>
        </p:txBody>
      </p:sp>
    </p:spTree>
    <p:extLst>
      <p:ext uri="{BB962C8B-B14F-4D97-AF65-F5344CB8AC3E}">
        <p14:creationId xmlns:p14="http://schemas.microsoft.com/office/powerpoint/2010/main" val="2380259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615A87-1CDA-770B-7A7F-AC9413CAA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9612" y="207963"/>
            <a:ext cx="10515600" cy="1325563"/>
          </a:xfrm>
        </p:spPr>
        <p:txBody>
          <a:bodyPr/>
          <a:lstStyle/>
          <a:p>
            <a:r>
              <a:rPr lang="en-US" b="1" dirty="0"/>
              <a:t>Game Changers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99983F92-BB0C-61E7-A923-A6E216401A1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97494536"/>
              </p:ext>
            </p:extLst>
          </p:nvPr>
        </p:nvGraphicFramePr>
        <p:xfrm>
          <a:off x="966788" y="1397000"/>
          <a:ext cx="10515600" cy="47180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503117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14:reveal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we="http://schemas.microsoft.com/office/webextensions/webextension/2010/11" xmlns:pca="http://schemas.microsoft.com/office/powerpoint/2013/contentapp">
        <mc:Choice Requires="we pca">
          <p:graphicFrame>
            <p:nvGraphicFramePr>
              <p:cNvPr id="3" name="Add-in 2" title="Mentimeter - Interactive Presentations">
                <a:extLst>
                  <a:ext uri="{FF2B5EF4-FFF2-40B4-BE49-F238E27FC236}">
                    <a16:creationId xmlns:a16="http://schemas.microsoft.com/office/drawing/2014/main" id="{0FA9B452-7193-0315-5CCB-986F620D500E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860557731"/>
                  </p:ext>
                </p:extLst>
              </p:nvPr>
            </p:nvGraphicFramePr>
            <p:xfrm>
              <a:off x="1153886" y="1019174"/>
              <a:ext cx="9786257" cy="4819650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3" name="Add-in 2" title="Mentimeter - Interactive Presentations">
                <a:extLst>
                  <a:ext uri="{FF2B5EF4-FFF2-40B4-BE49-F238E27FC236}">
                    <a16:creationId xmlns:a16="http://schemas.microsoft.com/office/drawing/2014/main" id="{0FA9B452-7193-0315-5CCB-986F620D500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153886" y="1019174"/>
                <a:ext cx="9786257" cy="481965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184791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we="http://schemas.microsoft.com/office/webextensions/webextension/2010/11" xmlns:pca="http://schemas.microsoft.com/office/powerpoint/2013/contentapp">
        <mc:Choice Requires="we pca">
          <p:graphicFrame>
            <p:nvGraphicFramePr>
              <p:cNvPr id="6" name="Add-in 5" title="Mentimeter - Interactive Presentations">
                <a:extLst>
                  <a:ext uri="{FF2B5EF4-FFF2-40B4-BE49-F238E27FC236}">
                    <a16:creationId xmlns:a16="http://schemas.microsoft.com/office/drawing/2014/main" id="{1A785ACC-ECC4-F83F-0550-9DFEFF1E4FBB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726025670"/>
                  </p:ext>
                </p:extLst>
              </p:nvPr>
            </p:nvGraphicFramePr>
            <p:xfrm>
              <a:off x="489527" y="667327"/>
              <a:ext cx="11471564" cy="5523345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2"/>
              </a:graphicData>
            </a:graphic>
          </p:graphicFrame>
        </mc:Choice>
        <mc:Fallback xmlns="">
          <p:pic>
            <p:nvPicPr>
              <p:cNvPr id="6" name="Add-in 5" title="Mentimeter - Interactive Presentations">
                <a:extLst>
                  <a:ext uri="{FF2B5EF4-FFF2-40B4-BE49-F238E27FC236}">
                    <a16:creationId xmlns:a16="http://schemas.microsoft.com/office/drawing/2014/main" id="{1A785ACC-ECC4-F83F-0550-9DFEFF1E4FBB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489527" y="667327"/>
                <a:ext cx="11471564" cy="5523345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we="http://schemas.microsoft.com/office/webextensions/webextension/2010/11" xmlns:pca="http://schemas.microsoft.com/office/powerpoint/2013/contentapp">
        <mc:Choice Requires="we pca">
          <p:graphicFrame>
            <p:nvGraphicFramePr>
              <p:cNvPr id="2" name="Add-in 1" title="Mentimeter - Interactive Presentations">
                <a:extLst>
                  <a:ext uri="{FF2B5EF4-FFF2-40B4-BE49-F238E27FC236}">
                    <a16:creationId xmlns:a16="http://schemas.microsoft.com/office/drawing/2014/main" id="{21A63726-60B0-1B0F-76F0-14B24DE3B28F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974521418"/>
                  </p:ext>
                </p:extLst>
              </p:nvPr>
            </p:nvGraphicFramePr>
            <p:xfrm>
              <a:off x="563418" y="803564"/>
              <a:ext cx="11009746" cy="5387108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4"/>
              </a:graphicData>
            </a:graphic>
          </p:graphicFrame>
        </mc:Choice>
        <mc:Fallback xmlns="">
          <p:pic>
            <p:nvPicPr>
              <p:cNvPr id="2" name="Add-in 1" title="Mentimeter - Interactive Presentations">
                <a:extLst>
                  <a:ext uri="{FF2B5EF4-FFF2-40B4-BE49-F238E27FC236}">
                    <a16:creationId xmlns:a16="http://schemas.microsoft.com/office/drawing/2014/main" id="{21A63726-60B0-1B0F-76F0-14B24DE3B28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63418" y="803564"/>
                <a:ext cx="11009746" cy="5387108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018557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C4285719-470E-454C-AF62-8323075F1F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D9FE4EF-C4D8-49A0-B2FF-81D8DB7D8A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800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3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00840D-0A0B-4512-BACA-B439D5B9C5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alpha val="46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2B78728-A580-49A7-84F9-6EF6F583A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2000">
                <a:schemeClr val="accent1">
                  <a:alpha val="29000"/>
                </a:schemeClr>
              </a:gs>
              <a:gs pos="100000">
                <a:srgbClr val="000000">
                  <a:alpha val="30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38FAA1A1-D861-433F-88FA-1E9D6FD31D1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20635413">
            <a:off x="-501737" y="969718"/>
            <a:ext cx="3900357" cy="4178958"/>
          </a:xfrm>
          <a:custGeom>
            <a:avLst/>
            <a:gdLst>
              <a:gd name="connsiteX0" fmla="*/ 2432225 w 3900357"/>
              <a:gd name="connsiteY0" fmla="*/ 93939 h 4178958"/>
              <a:gd name="connsiteX1" fmla="*/ 3900357 w 3900357"/>
              <a:gd name="connsiteY1" fmla="*/ 2089479 h 4178958"/>
              <a:gd name="connsiteX2" fmla="*/ 1810878 w 3900357"/>
              <a:gd name="connsiteY2" fmla="*/ 4178958 h 4178958"/>
              <a:gd name="connsiteX3" fmla="*/ 78249 w 3900357"/>
              <a:gd name="connsiteY3" fmla="*/ 3257727 h 4178958"/>
              <a:gd name="connsiteX4" fmla="*/ 0 w 3900357"/>
              <a:gd name="connsiteY4" fmla="*/ 3128923 h 4178958"/>
              <a:gd name="connsiteX5" fmla="*/ 831324 w 3900357"/>
              <a:gd name="connsiteY5" fmla="*/ 244281 h 4178958"/>
              <a:gd name="connsiteX6" fmla="*/ 997559 w 3900357"/>
              <a:gd name="connsiteY6" fmla="*/ 164202 h 4178958"/>
              <a:gd name="connsiteX7" fmla="*/ 1810878 w 3900357"/>
              <a:gd name="connsiteY7" fmla="*/ 0 h 4178958"/>
              <a:gd name="connsiteX8" fmla="*/ 2432225 w 3900357"/>
              <a:gd name="connsiteY8" fmla="*/ 93939 h 41789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900357" h="4178958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29000">
                <a:srgbClr val="000000">
                  <a:alpha val="0"/>
                </a:srgbClr>
              </a:gs>
              <a:gs pos="100000">
                <a:schemeClr val="accent1">
                  <a:alpha val="43000"/>
                </a:schemeClr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D71EDA1-87BF-4D5D-AB79-F346FD1927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chemeClr val="accent1">
                  <a:lumMod val="60000"/>
                  <a:lumOff val="40000"/>
                  <a:alpha val="11000"/>
                </a:schemeClr>
              </a:gs>
            </a:gsLst>
            <a:lin ang="7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35EE50F-1A6C-A778-604B-6722E785E4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44452" y="447104"/>
            <a:ext cx="3834340" cy="1305496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6600" b="1" kern="1200" dirty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Discussion</a:t>
            </a:r>
            <a:endParaRPr lang="en-US" sz="3600" b="1" kern="1200" dirty="0">
              <a:solidFill>
                <a:srgbClr val="0070C0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" name="Graphic 6" descr="Accounts">
            <a:extLst>
              <a:ext uri="{FF2B5EF4-FFF2-40B4-BE49-F238E27FC236}">
                <a16:creationId xmlns:a16="http://schemas.microsoft.com/office/drawing/2014/main" id="{5D03D57D-4E0F-4A1B-766E-AA0D4D09CE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5662" y="1638115"/>
            <a:ext cx="1978579" cy="1978579"/>
          </a:xfrm>
          <a:prstGeom prst="rect">
            <a:avLst/>
          </a:prstGeom>
        </p:spPr>
      </p:pic>
      <p:graphicFrame>
        <p:nvGraphicFramePr>
          <p:cNvPr id="22" name="TextBox 2">
            <a:extLst>
              <a:ext uri="{FF2B5EF4-FFF2-40B4-BE49-F238E27FC236}">
                <a16:creationId xmlns:a16="http://schemas.microsoft.com/office/drawing/2014/main" id="{8AC5B260-8747-B130-CAC7-8010D47A352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0545595"/>
              </p:ext>
            </p:extLst>
          </p:nvPr>
        </p:nvGraphicFramePr>
        <p:xfrm>
          <a:off x="85436" y="3636974"/>
          <a:ext cx="3752754" cy="29111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2A389C20-010D-54EE-C6A8-A1424B5C4FE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221878" y="4016888"/>
            <a:ext cx="2559288" cy="2559288"/>
          </a:xfrm>
          <a:prstGeom prst="rect">
            <a:avLst/>
          </a:prstGeom>
        </p:spPr>
      </p:pic>
      <p:sp>
        <p:nvSpPr>
          <p:cNvPr id="4" name="Title 2">
            <a:extLst>
              <a:ext uri="{FF2B5EF4-FFF2-40B4-BE49-F238E27FC236}">
                <a16:creationId xmlns:a16="http://schemas.microsoft.com/office/drawing/2014/main" id="{2460FDCE-316F-F6AB-7761-5DB308D789D5}"/>
              </a:ext>
            </a:extLst>
          </p:cNvPr>
          <p:cNvSpPr txBox="1">
            <a:spLocks/>
          </p:cNvSpPr>
          <p:nvPr/>
        </p:nvSpPr>
        <p:spPr>
          <a:xfrm>
            <a:off x="4979296" y="5287809"/>
            <a:ext cx="4128796" cy="1083559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rgbClr val="5D5B6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 dirty="0"/>
              <a:t>Download the Water 2050 Report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524D911-1F7A-350E-FA7F-423F304E980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 rot="20573430">
            <a:off x="4547296" y="3229436"/>
            <a:ext cx="1434667" cy="1806888"/>
          </a:xfrm>
          <a:prstGeom prst="rect">
            <a:avLst/>
          </a:prstGeom>
        </p:spPr>
      </p:pic>
      <p:pic>
        <p:nvPicPr>
          <p:cNvPr id="6" name="Picture 60" descr="A picture containing diagram&#10;&#10;Description automatically generated">
            <a:extLst>
              <a:ext uri="{FF2B5EF4-FFF2-40B4-BE49-F238E27FC236}">
                <a16:creationId xmlns:a16="http://schemas.microsoft.com/office/drawing/2014/main" id="{AE1532FF-B75A-374A-AC0B-5EB68EBD8E0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 rot="20821147">
            <a:off x="5598150" y="3103745"/>
            <a:ext cx="1093852" cy="1448042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8" name="Picture 62" descr="A picture containing diagram&#10;&#10;Description automatically generated">
            <a:extLst>
              <a:ext uri="{FF2B5EF4-FFF2-40B4-BE49-F238E27FC236}">
                <a16:creationId xmlns:a16="http://schemas.microsoft.com/office/drawing/2014/main" id="{F18569DC-FA0B-E4D8-6DCA-4330B19BA64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455229" y="3027475"/>
            <a:ext cx="1074930" cy="1449749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9" name="Picture 63" descr="A picture containing shape&#10;&#10;Description automatically generated">
            <a:extLst>
              <a:ext uri="{FF2B5EF4-FFF2-40B4-BE49-F238E27FC236}">
                <a16:creationId xmlns:a16="http://schemas.microsoft.com/office/drawing/2014/main" id="{A45A3C81-C5C6-1D3C-CA85-158A35CF7C2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595264">
            <a:off x="7429933" y="3115875"/>
            <a:ext cx="1098586" cy="1463358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11" name="Picture 64" descr="A picture containing diagram&#10;&#10;Description automatically generated">
            <a:extLst>
              <a:ext uri="{FF2B5EF4-FFF2-40B4-BE49-F238E27FC236}">
                <a16:creationId xmlns:a16="http://schemas.microsoft.com/office/drawing/2014/main" id="{C734FED0-AF27-B639-D691-D3E7EF0672A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rot="1658715">
            <a:off x="8076941" y="3399347"/>
            <a:ext cx="1098586" cy="1467067"/>
          </a:xfrm>
          <a:prstGeom prst="rect">
            <a:avLst/>
          </a:prstGeom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1272266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900">
        <p14:glitter pattern="hexagon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1C1E28-6633-ED1D-D38C-707EBE1952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783903"/>
            <a:ext cx="10515600" cy="4351338"/>
          </a:xfrm>
        </p:spPr>
        <p:txBody>
          <a:bodyPr/>
          <a:lstStyle/>
          <a:p>
            <a:pPr marL="0" indent="0" algn="ctr">
              <a:buNone/>
            </a:pPr>
            <a:r>
              <a:rPr lang="en-US" sz="4000" b="1" dirty="0">
                <a:solidFill>
                  <a:schemeClr val="bg1"/>
                </a:solidFill>
              </a:rPr>
              <a:t>AWWA’s View of the Water Industry</a:t>
            </a:r>
          </a:p>
          <a:p>
            <a:pPr marL="0" indent="0" algn="ctr">
              <a:buNone/>
            </a:pPr>
            <a:r>
              <a:rPr lang="en-US" sz="4000" b="1" dirty="0">
                <a:solidFill>
                  <a:schemeClr val="bg1"/>
                </a:solidFill>
              </a:rPr>
              <a:t>---Its Evolution and Future---</a:t>
            </a:r>
          </a:p>
          <a:p>
            <a:pPr marL="0" indent="0" algn="ctr">
              <a:buNone/>
            </a:pPr>
            <a:endParaRPr lang="en-US" dirty="0">
              <a:solidFill>
                <a:schemeClr val="bg1"/>
              </a:solidFill>
            </a:endParaRPr>
          </a:p>
          <a:p>
            <a:pPr marL="0" indent="0" algn="ctr">
              <a:buNone/>
            </a:pPr>
            <a:endParaRPr lang="en-US" dirty="0">
              <a:solidFill>
                <a:schemeClr val="bg1"/>
              </a:solidFill>
            </a:endParaRPr>
          </a:p>
          <a:p>
            <a:pPr marL="0" indent="0" algn="ctr">
              <a:buNone/>
            </a:pPr>
            <a:r>
              <a:rPr lang="en-US" sz="2400" dirty="0">
                <a:solidFill>
                  <a:schemeClr val="bg1"/>
                </a:solidFill>
              </a:rPr>
              <a:t>David LaFrance</a:t>
            </a:r>
          </a:p>
          <a:p>
            <a:pPr marL="0" indent="0" algn="ctr">
              <a:buNone/>
            </a:pPr>
            <a:r>
              <a:rPr lang="en-US" sz="2400" dirty="0">
                <a:solidFill>
                  <a:schemeClr val="bg1"/>
                </a:solidFill>
              </a:rPr>
              <a:t>Chief Executive Officer</a:t>
            </a:r>
          </a:p>
          <a:p>
            <a:pPr marL="0" indent="0" algn="ctr">
              <a:buNone/>
            </a:pPr>
            <a:r>
              <a:rPr lang="en-US" sz="2400" dirty="0">
                <a:solidFill>
                  <a:schemeClr val="bg1"/>
                </a:solidFill>
              </a:rPr>
              <a:t>American Water Works Association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6706464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3500">
        <p159:morph option="byObject"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6F5A5072-7B47-4D32-B52A-4EBBF590B8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715DAF0-AE1B-46C9-8A6B-DB2AA05AB9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2" y="-22693"/>
            <a:ext cx="12191999" cy="4374129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rgbClr val="000000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016219D-510E-4184-9090-6D5578A87B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3908719" y="-3931841"/>
            <a:ext cx="4374557" cy="12192000"/>
          </a:xfrm>
          <a:prstGeom prst="rect">
            <a:avLst/>
          </a:prstGeom>
          <a:gradFill>
            <a:gsLst>
              <a:gs pos="40000">
                <a:schemeClr val="accent1">
                  <a:alpha val="0"/>
                </a:schemeClr>
              </a:gs>
              <a:gs pos="100000">
                <a:schemeClr val="accent1">
                  <a:lumMod val="75000"/>
                  <a:alpha val="52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FF4A713-7B75-4B21-90D7-5AB19547C7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4136696" y="-3703868"/>
            <a:ext cx="4374128" cy="11736479"/>
          </a:xfrm>
          <a:prstGeom prst="rect">
            <a:avLst/>
          </a:prstGeom>
          <a:gradFill>
            <a:gsLst>
              <a:gs pos="17000">
                <a:schemeClr val="accent1">
                  <a:alpha val="0"/>
                </a:schemeClr>
              </a:gs>
              <a:gs pos="100000">
                <a:srgbClr val="000000">
                  <a:alpha val="37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C631C0B-6DA6-4E57-8231-CE32B3434A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5" y="-22690"/>
            <a:ext cx="8542485" cy="4374126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  <a:alpha val="0"/>
                </a:schemeClr>
              </a:gs>
              <a:gs pos="100000">
                <a:srgbClr val="000000">
                  <a:alpha val="25000"/>
                </a:srgb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C29501E6-A978-4A61-9689-9085AF97A5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2508972">
            <a:off x="5945431" y="-1032053"/>
            <a:ext cx="4990147" cy="4439131"/>
          </a:xfrm>
          <a:custGeom>
            <a:avLst/>
            <a:gdLst>
              <a:gd name="connsiteX0" fmla="*/ 4990147 w 4990147"/>
              <a:gd name="connsiteY0" fmla="*/ 2229378 h 4439131"/>
              <a:gd name="connsiteX1" fmla="*/ 917384 w 4990147"/>
              <a:gd name="connsiteY1" fmla="*/ 4439131 h 4439131"/>
              <a:gd name="connsiteX2" fmla="*/ 910814 w 4990147"/>
              <a:gd name="connsiteY2" fmla="*/ 4434219 h 4439131"/>
              <a:gd name="connsiteX3" fmla="*/ 0 w 4990147"/>
              <a:gd name="connsiteY3" fmla="*/ 2502877 h 4439131"/>
              <a:gd name="connsiteX4" fmla="*/ 2502877 w 4990147"/>
              <a:gd name="connsiteY4" fmla="*/ 0 h 4439131"/>
              <a:gd name="connsiteX5" fmla="*/ 4954904 w 4990147"/>
              <a:gd name="connsiteY5" fmla="*/ 1998460 h 4439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90147" h="4439131">
                <a:moveTo>
                  <a:pt x="4990147" y="2229378"/>
                </a:moveTo>
                <a:lnTo>
                  <a:pt x="917384" y="4439131"/>
                </a:lnTo>
                <a:lnTo>
                  <a:pt x="910814" y="4434219"/>
                </a:lnTo>
                <a:cubicBezTo>
                  <a:pt x="354557" y="3975154"/>
                  <a:pt x="0" y="3280421"/>
                  <a:pt x="0" y="2502877"/>
                </a:cubicBezTo>
                <a:cubicBezTo>
                  <a:pt x="0" y="1120576"/>
                  <a:pt x="1120576" y="0"/>
                  <a:pt x="2502877" y="0"/>
                </a:cubicBezTo>
                <a:cubicBezTo>
                  <a:pt x="3712390" y="0"/>
                  <a:pt x="4721520" y="857941"/>
                  <a:pt x="4954904" y="1998460"/>
                </a:cubicBezTo>
                <a:close/>
              </a:path>
            </a:pathLst>
          </a:custGeom>
          <a:gradFill>
            <a:gsLst>
              <a:gs pos="0">
                <a:schemeClr val="accent1">
                  <a:alpha val="22000"/>
                </a:schemeClr>
              </a:gs>
              <a:gs pos="87000">
                <a:schemeClr val="accent1">
                  <a:lumMod val="60000"/>
                  <a:lumOff val="40000"/>
                  <a:alpha val="2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5CFCC9-A92E-4F09-1BC7-39CF8FED8E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7165" y="699924"/>
            <a:ext cx="10053763" cy="292847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l"/>
            <a:r>
              <a:rPr lang="en-US" sz="4800" b="1" dirty="0">
                <a:solidFill>
                  <a:srgbClr val="FFFFFF"/>
                </a:solidFill>
              </a:rPr>
              <a:t>Looking Back</a:t>
            </a:r>
          </a:p>
        </p:txBody>
      </p:sp>
      <p:pic>
        <p:nvPicPr>
          <p:cNvPr id="4" name="Picture 3" descr="Cuyahoga-River-Fire-of-1969 - nipeaze.com">
            <a:extLst>
              <a:ext uri="{FF2B5EF4-FFF2-40B4-BE49-F238E27FC236}">
                <a16:creationId xmlns:a16="http://schemas.microsoft.com/office/drawing/2014/main" id="{3991C80E-24E5-12B9-BABC-ACF9F3901D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7765" y="1823480"/>
            <a:ext cx="6444272" cy="42767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9885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fade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F54F8B-5A74-3DF6-3D6F-521D0DB648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498701"/>
            <a:ext cx="12081164" cy="1158650"/>
          </a:xfrm>
        </p:spPr>
        <p:txBody>
          <a:bodyPr>
            <a:noAutofit/>
          </a:bodyPr>
          <a:lstStyle/>
          <a:p>
            <a:pPr algn="ctr"/>
            <a:r>
              <a:rPr lang="en-US" sz="4800" b="1" dirty="0">
                <a:ea typeface="Open Sans" panose="020B0606030504020204" pitchFamily="34" charset="0"/>
                <a:cs typeface="Open Sans" panose="020B0606030504020204" pitchFamily="34" charset="0"/>
              </a:rPr>
              <a:t>The Environment, Society &amp; Water</a:t>
            </a:r>
            <a:br>
              <a:rPr lang="en-US" dirty="0">
                <a:solidFill>
                  <a:schemeClr val="lt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</a:br>
            <a:endParaRPr lang="en-US" dirty="0"/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B0B9F2C3-61B3-143C-65F5-132E0715AD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1684144"/>
              </p:ext>
            </p:extLst>
          </p:nvPr>
        </p:nvGraphicFramePr>
        <p:xfrm>
          <a:off x="1224388" y="2585264"/>
          <a:ext cx="10515600" cy="46355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EF00B85-481C-F409-0C70-A333FE111C54}"/>
              </a:ext>
            </a:extLst>
          </p:cNvPr>
          <p:cNvSpPr txBox="1"/>
          <p:nvPr/>
        </p:nvSpPr>
        <p:spPr>
          <a:xfrm>
            <a:off x="3753914" y="1832353"/>
            <a:ext cx="13338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1970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466C4F7-9BB7-E748-1579-119B35E3A0DE}"/>
              </a:ext>
            </a:extLst>
          </p:cNvPr>
          <p:cNvSpPr txBox="1"/>
          <p:nvPr/>
        </p:nvSpPr>
        <p:spPr>
          <a:xfrm>
            <a:off x="5815263" y="1829535"/>
            <a:ext cx="13338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1970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7F46CAD-7E7D-92D5-3E8F-D47FE98B2895}"/>
              </a:ext>
            </a:extLst>
          </p:cNvPr>
          <p:cNvSpPr txBox="1"/>
          <p:nvPr/>
        </p:nvSpPr>
        <p:spPr>
          <a:xfrm>
            <a:off x="7829200" y="1824263"/>
            <a:ext cx="13338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197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36DAB67-A908-C038-888E-38611D1AE37C}"/>
              </a:ext>
            </a:extLst>
          </p:cNvPr>
          <p:cNvSpPr txBox="1"/>
          <p:nvPr/>
        </p:nvSpPr>
        <p:spPr>
          <a:xfrm>
            <a:off x="10056514" y="1832353"/>
            <a:ext cx="13338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1974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AB16404-423B-F82B-0C8E-39B71569151D}"/>
              </a:ext>
            </a:extLst>
          </p:cNvPr>
          <p:cNvSpPr txBox="1"/>
          <p:nvPr/>
        </p:nvSpPr>
        <p:spPr>
          <a:xfrm>
            <a:off x="1704187" y="1824263"/>
            <a:ext cx="13338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1969</a:t>
            </a:r>
          </a:p>
        </p:txBody>
      </p:sp>
      <p:pic>
        <p:nvPicPr>
          <p:cNvPr id="14" name="Picture 13" descr="Cuyahoga-River-Fire-of-1969 - nipeaze.com">
            <a:extLst>
              <a:ext uri="{FF2B5EF4-FFF2-40B4-BE49-F238E27FC236}">
                <a16:creationId xmlns:a16="http://schemas.microsoft.com/office/drawing/2014/main" id="{6E6AC3A2-6222-7FB4-E3EE-C765951050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4948" y="2285928"/>
            <a:ext cx="2049727" cy="173038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CAB6EC5-745E-BCA8-B406-10C4A02D187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17261" y="2261960"/>
            <a:ext cx="1740173" cy="1754354"/>
          </a:xfrm>
          <a:prstGeom prst="rect">
            <a:avLst/>
          </a:prstGeom>
          <a:ln>
            <a:noFill/>
          </a:ln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4E9692D-B63B-541A-99F8-FBC32AB43FA8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1902" r="4695" b="4777"/>
          <a:stretch/>
        </p:blipFill>
        <p:spPr>
          <a:xfrm>
            <a:off x="7506821" y="2261960"/>
            <a:ext cx="1740173" cy="175435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8EDD19A1-761E-2691-2724-C53C530D019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569373" y="2261960"/>
            <a:ext cx="2114451" cy="1754355"/>
          </a:xfrm>
          <a:prstGeom prst="rect">
            <a:avLst/>
          </a:prstGeom>
        </p:spPr>
      </p:pic>
      <p:pic>
        <p:nvPicPr>
          <p:cNvPr id="1026" name="Picture 2" descr="The Tree: Book Review AND Earth Day Clip Art | Grade Onederful">
            <a:extLst>
              <a:ext uri="{FF2B5EF4-FFF2-40B4-BE49-F238E27FC236}">
                <a16:creationId xmlns:a16="http://schemas.microsoft.com/office/drawing/2014/main" id="{E7917EC2-7CC2-EA0D-256B-35A586C5F0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0218" y="2267014"/>
            <a:ext cx="1821121" cy="18381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DEA81A2F-29F5-2CFF-13CB-5CD80A712398}"/>
              </a:ext>
            </a:extLst>
          </p:cNvPr>
          <p:cNvCxnSpPr/>
          <p:nvPr/>
        </p:nvCxnSpPr>
        <p:spPr>
          <a:xfrm>
            <a:off x="5517261" y="2261960"/>
            <a:ext cx="214083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61BB1FD-F046-9D8B-0CE7-AD2162A470E1}"/>
              </a:ext>
            </a:extLst>
          </p:cNvPr>
          <p:cNvCxnSpPr>
            <a:cxnSpLocks/>
          </p:cNvCxnSpPr>
          <p:nvPr/>
        </p:nvCxnSpPr>
        <p:spPr>
          <a:xfrm>
            <a:off x="7254217" y="2294018"/>
            <a:ext cx="0" cy="172229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96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wipe/>
      </p:transition>
    </mc:Choice>
    <mc:Fallback xmlns="">
      <p:transition spd="slow">
        <p:wip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BF519711-A7FB-4970-A30E-8CA94419049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graphicEl>
                                              <a:dgm id="{BF519711-A7FB-4970-A30E-8CA94419049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E527CE5-7862-4843-B916-5C72F5EF118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>
                                            <p:graphicEl>
                                              <a:dgm id="{5E527CE5-7862-4843-B916-5C72F5EF118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56CA4961-A6E2-4A77-9CF9-FFBC89517DE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4">
                                            <p:graphicEl>
                                              <a:dgm id="{56CA4961-A6E2-4A77-9CF9-FFBC89517DE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EEF58DBD-F760-4964-ADFF-1C23E6F39CA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4">
                                            <p:graphicEl>
                                              <a:dgm id="{EEF58DBD-F760-4964-ADFF-1C23E6F39CA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dgm id="{E78014F6-09C4-4F2B-A7EE-6A2E6519914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">
                                            <p:graphicEl>
                                              <a:dgm id="{E78014F6-09C4-4F2B-A7EE-6A2E6519914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 uiExpand="1">
        <p:bldSub>
          <a:bldDgm bld="one"/>
        </p:bldSub>
      </p:bldGraphic>
      <p:bldP spid="5" grpId="0"/>
      <p:bldP spid="6" grpId="0"/>
      <p:bldP spid="7" grpId="0"/>
      <p:bldP spid="8" grpId="0"/>
      <p:bldP spid="9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6F5A5072-7B47-4D32-B52A-4EBBF590B8A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715DAF0-AE1B-46C9-8A6B-DB2AA05AB9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>
            <a:off x="-2" y="-22693"/>
            <a:ext cx="12191999" cy="4374129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rgbClr val="000000"/>
              </a:gs>
            </a:gsLst>
            <a:lin ang="15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016219D-510E-4184-9090-6D5578A87B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3908719" y="-3931841"/>
            <a:ext cx="4374557" cy="12192000"/>
          </a:xfrm>
          <a:prstGeom prst="rect">
            <a:avLst/>
          </a:prstGeom>
          <a:gradFill>
            <a:gsLst>
              <a:gs pos="40000">
                <a:schemeClr val="accent1">
                  <a:alpha val="0"/>
                </a:schemeClr>
              </a:gs>
              <a:gs pos="100000">
                <a:schemeClr val="accent1">
                  <a:lumMod val="75000"/>
                  <a:alpha val="52000"/>
                </a:scheme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FF4A713-7B75-4B21-90D7-5AB19547C7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4136696" y="-3703868"/>
            <a:ext cx="4374128" cy="11736479"/>
          </a:xfrm>
          <a:prstGeom prst="rect">
            <a:avLst/>
          </a:prstGeom>
          <a:gradFill>
            <a:gsLst>
              <a:gs pos="17000">
                <a:schemeClr val="accent1">
                  <a:alpha val="0"/>
                </a:schemeClr>
              </a:gs>
              <a:gs pos="100000">
                <a:srgbClr val="000000">
                  <a:alpha val="37000"/>
                </a:srgbClr>
              </a:gs>
            </a:gsLst>
            <a:lin ang="7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DC631C0B-6DA6-4E57-8231-CE32B3434A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5" y="-22690"/>
            <a:ext cx="8542485" cy="4374126"/>
          </a:xfrm>
          <a:prstGeom prst="rect">
            <a:avLst/>
          </a:prstGeom>
          <a:gradFill>
            <a:gsLst>
              <a:gs pos="0">
                <a:schemeClr val="accent1">
                  <a:lumMod val="50000"/>
                  <a:alpha val="0"/>
                </a:schemeClr>
              </a:gs>
              <a:gs pos="100000">
                <a:srgbClr val="000000">
                  <a:alpha val="25000"/>
                </a:srgb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C29501E6-A978-4A61-9689-9085AF97A5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2508972">
            <a:off x="5945431" y="-1032053"/>
            <a:ext cx="4990147" cy="4439131"/>
          </a:xfrm>
          <a:custGeom>
            <a:avLst/>
            <a:gdLst>
              <a:gd name="connsiteX0" fmla="*/ 4990147 w 4990147"/>
              <a:gd name="connsiteY0" fmla="*/ 2229378 h 4439131"/>
              <a:gd name="connsiteX1" fmla="*/ 917384 w 4990147"/>
              <a:gd name="connsiteY1" fmla="*/ 4439131 h 4439131"/>
              <a:gd name="connsiteX2" fmla="*/ 910814 w 4990147"/>
              <a:gd name="connsiteY2" fmla="*/ 4434219 h 4439131"/>
              <a:gd name="connsiteX3" fmla="*/ 0 w 4990147"/>
              <a:gd name="connsiteY3" fmla="*/ 2502877 h 4439131"/>
              <a:gd name="connsiteX4" fmla="*/ 2502877 w 4990147"/>
              <a:gd name="connsiteY4" fmla="*/ 0 h 4439131"/>
              <a:gd name="connsiteX5" fmla="*/ 4954904 w 4990147"/>
              <a:gd name="connsiteY5" fmla="*/ 1998460 h 4439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90147" h="4439131">
                <a:moveTo>
                  <a:pt x="4990147" y="2229378"/>
                </a:moveTo>
                <a:lnTo>
                  <a:pt x="917384" y="4439131"/>
                </a:lnTo>
                <a:lnTo>
                  <a:pt x="910814" y="4434219"/>
                </a:lnTo>
                <a:cubicBezTo>
                  <a:pt x="354557" y="3975154"/>
                  <a:pt x="0" y="3280421"/>
                  <a:pt x="0" y="2502877"/>
                </a:cubicBezTo>
                <a:cubicBezTo>
                  <a:pt x="0" y="1120576"/>
                  <a:pt x="1120576" y="0"/>
                  <a:pt x="2502877" y="0"/>
                </a:cubicBezTo>
                <a:cubicBezTo>
                  <a:pt x="3712390" y="0"/>
                  <a:pt x="4721520" y="857941"/>
                  <a:pt x="4954904" y="1998460"/>
                </a:cubicBezTo>
                <a:close/>
              </a:path>
            </a:pathLst>
          </a:custGeom>
          <a:gradFill>
            <a:gsLst>
              <a:gs pos="0">
                <a:schemeClr val="accent1">
                  <a:alpha val="22000"/>
                </a:schemeClr>
              </a:gs>
              <a:gs pos="87000">
                <a:schemeClr val="accent1">
                  <a:lumMod val="60000"/>
                  <a:lumOff val="40000"/>
                  <a:alpha val="200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A5CFCC9-A92E-4F09-1BC7-39CF8FED8E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32115" y="699924"/>
            <a:ext cx="9628814" cy="2216357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l"/>
            <a:r>
              <a:rPr lang="en-US" sz="4800" b="1" dirty="0">
                <a:solidFill>
                  <a:srgbClr val="FFFFFF"/>
                </a:solidFill>
              </a:rPr>
              <a:t>Toda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872E189-B1FC-28E7-14AE-4101B3CF44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77911" y="191669"/>
            <a:ext cx="4747587" cy="647466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AF142806-92BD-4B89-C2DF-5F8CEC9ED78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09534188"/>
              </p:ext>
            </p:extLst>
          </p:nvPr>
        </p:nvGraphicFramePr>
        <p:xfrm>
          <a:off x="289007" y="3941719"/>
          <a:ext cx="6761143" cy="282161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874779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>
        <p:fade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4E2B0CA2-2DFD-3D39-F94A-27A20DF37E8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09321269"/>
              </p:ext>
            </p:extLst>
          </p:nvPr>
        </p:nvGraphicFramePr>
        <p:xfrm>
          <a:off x="1007917" y="1790216"/>
          <a:ext cx="9982199" cy="42943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10835725-9303-E8A9-8032-D784CAEBD0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7917" y="464653"/>
            <a:ext cx="10515600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  <a:t>State of the Water Industry (2004 – 2023)</a:t>
            </a:r>
            <a:br>
              <a:rPr lang="en-US" b="1" dirty="0">
                <a:solidFill>
                  <a:schemeClr val="bg1"/>
                </a:solidFill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en-US" altLang="en-US" sz="1800" dirty="0">
                <a:solidFill>
                  <a:schemeClr val="bg1"/>
                </a:solidFill>
              </a:rPr>
              <a:t>In your opinion, what is the current overall state of the water industry?  How sound will the overall water industry be 5 years from now?  (1 = not sound at all, 7 = very sound)</a:t>
            </a:r>
            <a:br>
              <a:rPr lang="en-US" altLang="en-US" sz="1600" dirty="0">
                <a:solidFill>
                  <a:schemeClr val="bg1"/>
                </a:solidFill>
              </a:rPr>
            </a:br>
            <a:endParaRPr lang="en-US" sz="3840" b="1" dirty="0">
              <a:solidFill>
                <a:schemeClr val="bg1"/>
              </a:solidFill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1096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wipe/>
      </p:transition>
    </mc:Choice>
    <mc:Fallback xmlns="">
      <p:transition spd="slow">
        <p:wip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>
        <mc:Choice xmlns:we="http://schemas.microsoft.com/office/webextensions/webextension/2010/11" xmlns:pca="http://schemas.microsoft.com/office/powerpoint/2013/contentapp" Requires="we pca">
          <p:graphicFrame>
            <p:nvGraphicFramePr>
              <p:cNvPr id="2" name="Add-in 1" title="Mentimeter - Interactive Presentations">
                <a:extLst>
                  <a:ext uri="{FF2B5EF4-FFF2-40B4-BE49-F238E27FC236}">
                    <a16:creationId xmlns:a16="http://schemas.microsoft.com/office/drawing/2014/main" id="{44254374-546F-FD47-8A01-7E91CB6D8C4E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221992243"/>
                  </p:ext>
                </p:extLst>
              </p:nvPr>
            </p:nvGraphicFramePr>
            <p:xfrm>
              <a:off x="591126" y="831273"/>
              <a:ext cx="11296073" cy="5412509"/>
            </p:xfrm>
            <a:graphic>
              <a:graphicData uri="http://schemas.microsoft.com/office/webextensions/webextension/2010/11">
                <we:webextensionref xmlns:we="http://schemas.microsoft.com/office/webextensions/webextension/2010/11" xmlns:r="http://schemas.openxmlformats.org/officeDocument/2006/relationships" r:id="rId2"/>
              </a:graphicData>
            </a:graphic>
          </p:graphicFrame>
        </mc:Choice>
        <mc:Fallback>
          <p:pic>
            <p:nvPicPr>
              <p:cNvPr id="2" name="Add-in 1" title="Mentimeter - Interactive Presentations">
                <a:extLst>
                  <a:ext uri="{FF2B5EF4-FFF2-40B4-BE49-F238E27FC236}">
                    <a16:creationId xmlns:a16="http://schemas.microsoft.com/office/drawing/2014/main" id="{44254374-546F-FD47-8A01-7E91CB6D8C4E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591126" y="831273"/>
                <a:ext cx="11296073" cy="5412509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786904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4808DD7-A6DE-D181-AE53-6E02DC5580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5944119"/>
              </p:ext>
            </p:extLst>
          </p:nvPr>
        </p:nvGraphicFramePr>
        <p:xfrm>
          <a:off x="1220561" y="210639"/>
          <a:ext cx="9448800" cy="5958843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9448800">
                  <a:extLst>
                    <a:ext uri="{9D8B030D-6E8A-4147-A177-3AD203B41FA5}">
                      <a16:colId xmlns:a16="http://schemas.microsoft.com/office/drawing/2014/main" val="2509634411"/>
                    </a:ext>
                  </a:extLst>
                </a:gridCol>
              </a:tblGrid>
              <a:tr h="401373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bg1"/>
                          </a:solidFill>
                        </a:rPr>
                        <a:t>Top 15 Water Sector Challenges (2023)</a:t>
                      </a:r>
                    </a:p>
                  </a:txBody>
                  <a:tcPr anchor="ctr"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5684969"/>
                  </a:ext>
                </a:extLst>
              </a:tr>
              <a:tr h="370498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.  Renewal &amp; replacement of aging water infrastructure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9948522"/>
                  </a:ext>
                </a:extLst>
              </a:tr>
              <a:tr h="370498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.  Long-term drinking water supply availability (#3 in 2022)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10967574"/>
                  </a:ext>
                </a:extLst>
              </a:tr>
              <a:tr h="370498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.  Financing for capital improvements (#2 in 2022)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639494"/>
                  </a:ext>
                </a:extLst>
              </a:tr>
              <a:tr h="370498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4.  Public understanding of the value of water resources (#8 in 22)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3287013"/>
                  </a:ext>
                </a:extLst>
              </a:tr>
              <a:tr h="370498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5.  Watershed/source water protection (#7 in 2022)</a:t>
                      </a:r>
                      <a:endParaRPr lang="en-US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3633104"/>
                  </a:ext>
                </a:extLst>
              </a:tr>
              <a:tr h="370498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6.  Aging workforce/anticipated retirements (#4 in 2022)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4182754"/>
                  </a:ext>
                </a:extLst>
              </a:tr>
              <a:tr h="370498">
                <a:tc>
                  <a:txBody>
                    <a:bodyPr/>
                    <a:lstStyle/>
                    <a:p>
                      <a:pPr lvl="0" algn="ctr"/>
                      <a:r>
                        <a:rPr lang="en-US"/>
                        <a:t>7.  Public understanding of the value of water systems/services (#5 in 2022)</a:t>
                      </a:r>
                      <a:endParaRPr lang="en-US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1518503"/>
                  </a:ext>
                </a:extLst>
              </a:tr>
              <a:tr h="370498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8.  Emergency preparedness (#6 in 2022)</a:t>
                      </a:r>
                      <a:endParaRPr lang="en-US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7006142"/>
                  </a:ext>
                </a:extLst>
              </a:tr>
              <a:tr h="370498">
                <a:tc>
                  <a:txBody>
                    <a:bodyPr/>
                    <a:lstStyle/>
                    <a:p>
                      <a:pPr algn="ctr"/>
                      <a:r>
                        <a:rPr lang="en-US"/>
                        <a:t>9.  Groundwater management and overuse</a:t>
                      </a:r>
                      <a:endParaRPr lang="en-US" dirty="0"/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8882255"/>
                  </a:ext>
                </a:extLst>
              </a:tr>
              <a:tr h="370498">
                <a:tc>
                  <a:txBody>
                    <a:bodyPr/>
                    <a:lstStyle/>
                    <a:p>
                      <a:pPr marL="342900" indent="-342900" algn="ctr">
                        <a:buAutoNum type="arabicPeriod" startAt="10"/>
                      </a:pPr>
                      <a:r>
                        <a:rPr lang="en-US" dirty="0"/>
                        <a:t>Compliance with current regulations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180580"/>
                  </a:ext>
                </a:extLst>
              </a:tr>
              <a:tr h="370498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dirty="0"/>
                        <a:t>11. Water conservation/efficiency (#16 in 2022)</a:t>
                      </a:r>
                    </a:p>
                  </a:txBody>
                  <a:tcPr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2279622"/>
                  </a:ext>
                </a:extLst>
              </a:tr>
              <a:tr h="370498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dirty="0"/>
                        <a:t>12. Talent attraction and retention (#11 in 2022)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2804274"/>
                  </a:ext>
                </a:extLst>
              </a:tr>
              <a:tr h="370498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dirty="0"/>
                        <a:t>13. Cybersecurity issues (#10 in 2022)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1702700"/>
                  </a:ext>
                </a:extLst>
              </a:tr>
              <a:tr h="370498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dirty="0"/>
                        <a:t>14. Drought or periodic water shortages (#13 in 2022)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8883503"/>
                  </a:ext>
                </a:extLst>
              </a:tr>
              <a:tr h="370498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US" dirty="0"/>
                        <a:t>15. Compliance with future regulations 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7493925"/>
                  </a:ext>
                </a:extLst>
              </a:tr>
            </a:tbl>
          </a:graphicData>
        </a:graphic>
      </p:graphicFrame>
      <p:pic>
        <p:nvPicPr>
          <p:cNvPr id="3" name="Graphic 2" descr="Toggle with solid fill">
            <a:extLst>
              <a:ext uri="{FF2B5EF4-FFF2-40B4-BE49-F238E27FC236}">
                <a16:creationId xmlns:a16="http://schemas.microsoft.com/office/drawing/2014/main" id="{5D89C73D-53E5-77EB-C666-D19EEFB25D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2396836" y="976744"/>
            <a:ext cx="803563" cy="803563"/>
          </a:xfrm>
          <a:prstGeom prst="rect">
            <a:avLst/>
          </a:prstGeom>
        </p:spPr>
      </p:pic>
      <p:pic>
        <p:nvPicPr>
          <p:cNvPr id="9" name="Graphic 8" descr="Exponential Graph with solid fill">
            <a:extLst>
              <a:ext uri="{FF2B5EF4-FFF2-40B4-BE49-F238E27FC236}">
                <a16:creationId xmlns:a16="http://schemas.microsoft.com/office/drawing/2014/main" id="{6189449B-B5A7-5F5B-4C5D-FA6CB2C360A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171708" y="1669471"/>
            <a:ext cx="803564" cy="803564"/>
          </a:xfrm>
          <a:prstGeom prst="rect">
            <a:avLst/>
          </a:prstGeom>
        </p:spPr>
      </p:pic>
      <p:pic>
        <p:nvPicPr>
          <p:cNvPr id="10" name="Graphic 9" descr="Exponential Graph with solid fill">
            <a:extLst>
              <a:ext uri="{FF2B5EF4-FFF2-40B4-BE49-F238E27FC236}">
                <a16:creationId xmlns:a16="http://schemas.microsoft.com/office/drawing/2014/main" id="{958F327C-66AC-6CD3-DD29-91570134C0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174180" y="4052453"/>
            <a:ext cx="803564" cy="8035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5433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E5A9A7-95C6-4F4F-B00E-C82E07FE62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 flipH="1">
            <a:off x="-1417539" y="1417538"/>
            <a:ext cx="6875818" cy="4040744"/>
          </a:xfrm>
          <a:prstGeom prst="rect">
            <a:avLst/>
          </a:prstGeom>
          <a:gradFill>
            <a:gsLst>
              <a:gs pos="0">
                <a:srgbClr val="000000"/>
              </a:gs>
              <a:gs pos="100000">
                <a:schemeClr val="accent1">
                  <a:lumMod val="75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07DD2DE-F619-49DD-B5E7-03A290FF4ED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-158495" y="2660473"/>
            <a:ext cx="4355594" cy="4038603"/>
          </a:xfrm>
          <a:prstGeom prst="rect">
            <a:avLst/>
          </a:prstGeom>
          <a:gradFill>
            <a:gsLst>
              <a:gs pos="0">
                <a:schemeClr val="accent1">
                  <a:alpha val="50000"/>
                </a:schemeClr>
              </a:gs>
              <a:gs pos="100000">
                <a:schemeClr val="accent1">
                  <a:lumMod val="50000"/>
                  <a:alpha val="0"/>
                </a:schemeClr>
              </a:gs>
            </a:gsLst>
            <a:lin ang="11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5149191-5F60-4A28-AAFF-039F96B0F3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-1180882" y="1638085"/>
            <a:ext cx="6857572" cy="3581401"/>
          </a:xfrm>
          <a:prstGeom prst="rect">
            <a:avLst/>
          </a:prstGeom>
          <a:gradFill>
            <a:gsLst>
              <a:gs pos="0">
                <a:srgbClr val="000000">
                  <a:alpha val="59000"/>
                </a:srgbClr>
              </a:gs>
              <a:gs pos="69000">
                <a:schemeClr val="accent1">
                  <a:alpha val="0"/>
                </a:schemeClr>
              </a:gs>
            </a:gsLst>
            <a:lin ang="13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F8260ED5-17F7-4158-B241-D51DD4CF1B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6097846">
            <a:off x="-747355" y="1201312"/>
            <a:ext cx="4808302" cy="4088666"/>
          </a:xfrm>
          <a:custGeom>
            <a:avLst/>
            <a:gdLst>
              <a:gd name="connsiteX0" fmla="*/ 48844 w 4808302"/>
              <a:gd name="connsiteY0" fmla="*/ 2888671 h 4088666"/>
              <a:gd name="connsiteX1" fmla="*/ 0 w 4808302"/>
              <a:gd name="connsiteY1" fmla="*/ 2404151 h 4088666"/>
              <a:gd name="connsiteX2" fmla="*/ 2404151 w 4808302"/>
              <a:gd name="connsiteY2" fmla="*/ 0 h 4088666"/>
              <a:gd name="connsiteX3" fmla="*/ 4808302 w 4808302"/>
              <a:gd name="connsiteY3" fmla="*/ 2404151 h 4088666"/>
              <a:gd name="connsiteX4" fmla="*/ 4700216 w 4808302"/>
              <a:gd name="connsiteY4" fmla="*/ 3119072 h 4088666"/>
              <a:gd name="connsiteX5" fmla="*/ 4643143 w 4808302"/>
              <a:gd name="connsiteY5" fmla="*/ 3275009 h 4088666"/>
              <a:gd name="connsiteX6" fmla="*/ 690093 w 4808302"/>
              <a:gd name="connsiteY6" fmla="*/ 4088666 h 4088666"/>
              <a:gd name="connsiteX7" fmla="*/ 548991 w 4808302"/>
              <a:gd name="connsiteY7" fmla="*/ 3933414 h 4088666"/>
              <a:gd name="connsiteX8" fmla="*/ 48844 w 4808302"/>
              <a:gd name="connsiteY8" fmla="*/ 2888671 h 4088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808302" h="4088666">
                <a:moveTo>
                  <a:pt x="48844" y="2888671"/>
                </a:moveTo>
                <a:cubicBezTo>
                  <a:pt x="16818" y="2732167"/>
                  <a:pt x="0" y="2570123"/>
                  <a:pt x="0" y="2404151"/>
                </a:cubicBezTo>
                <a:cubicBezTo>
                  <a:pt x="0" y="1076375"/>
                  <a:pt x="1076375" y="0"/>
                  <a:pt x="2404151" y="0"/>
                </a:cubicBezTo>
                <a:cubicBezTo>
                  <a:pt x="3731927" y="0"/>
                  <a:pt x="4808302" y="1076375"/>
                  <a:pt x="4808302" y="2404151"/>
                </a:cubicBezTo>
                <a:cubicBezTo>
                  <a:pt x="4808302" y="2653109"/>
                  <a:pt x="4770461" y="2893229"/>
                  <a:pt x="4700216" y="3119072"/>
                </a:cubicBezTo>
                <a:lnTo>
                  <a:pt x="4643143" y="3275009"/>
                </a:lnTo>
                <a:lnTo>
                  <a:pt x="690093" y="4088666"/>
                </a:lnTo>
                <a:lnTo>
                  <a:pt x="548991" y="3933414"/>
                </a:lnTo>
                <a:cubicBezTo>
                  <a:pt x="304015" y="3636572"/>
                  <a:pt x="128908" y="3279932"/>
                  <a:pt x="48844" y="2888671"/>
                </a:cubicBezTo>
                <a:close/>
              </a:path>
            </a:pathLst>
          </a:custGeom>
          <a:gradFill>
            <a:gsLst>
              <a:gs pos="39000">
                <a:schemeClr val="accent1">
                  <a:lumMod val="60000"/>
                  <a:lumOff val="40000"/>
                  <a:alpha val="0"/>
                </a:schemeClr>
              </a:gs>
              <a:gs pos="100000">
                <a:schemeClr val="accent1">
                  <a:lumMod val="75000"/>
                  <a:alpha val="26000"/>
                </a:schemeClr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466D34-CE4C-6F6A-C682-1C67A8CFFB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888" y="460893"/>
            <a:ext cx="2880828" cy="307190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000" b="1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Water Sector Challenges: Trends over Time (2019-2023)</a:t>
            </a:r>
            <a:endParaRPr lang="en-US" sz="40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E3C2782-0B21-E188-DD7B-914D9A783F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03818" y="900363"/>
            <a:ext cx="7225748" cy="5112215"/>
          </a:xfrm>
          <a:prstGeom prst="rect">
            <a:avLst/>
          </a:prstGeom>
        </p:spPr>
      </p:pic>
      <p:pic>
        <p:nvPicPr>
          <p:cNvPr id="11" name="Graphic 10" descr="Arrow: Clockwise curve with solid fill">
            <a:extLst>
              <a:ext uri="{FF2B5EF4-FFF2-40B4-BE49-F238E27FC236}">
                <a16:creationId xmlns:a16="http://schemas.microsoft.com/office/drawing/2014/main" id="{F3DCD795-02ED-78CD-81B5-03559B8D12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028269" flipH="1">
            <a:off x="11260522" y="2847094"/>
            <a:ext cx="738088" cy="706434"/>
          </a:xfrm>
          <a:prstGeom prst="rect">
            <a:avLst/>
          </a:prstGeom>
        </p:spPr>
      </p:pic>
      <p:pic>
        <p:nvPicPr>
          <p:cNvPr id="13" name="Graphic 12" descr="Arrow: Clockwise curve with solid fill">
            <a:extLst>
              <a:ext uri="{FF2B5EF4-FFF2-40B4-BE49-F238E27FC236}">
                <a16:creationId xmlns:a16="http://schemas.microsoft.com/office/drawing/2014/main" id="{5A07B932-B8FE-ACAC-C4EE-43188415B35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9541172">
            <a:off x="10720740" y="3995269"/>
            <a:ext cx="706034" cy="706034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764EB3D-4C6D-67FE-6EA1-61F5A53A6329}"/>
              </a:ext>
            </a:extLst>
          </p:cNvPr>
          <p:cNvSpPr/>
          <p:nvPr/>
        </p:nvSpPr>
        <p:spPr>
          <a:xfrm>
            <a:off x="5129213" y="3028950"/>
            <a:ext cx="966787" cy="242888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A12F935-0D68-FE9A-4FF4-A2B933FF3F41}"/>
              </a:ext>
            </a:extLst>
          </p:cNvPr>
          <p:cNvSpPr/>
          <p:nvPr/>
        </p:nvSpPr>
        <p:spPr>
          <a:xfrm rot="1623338">
            <a:off x="5996545" y="3246792"/>
            <a:ext cx="1028319" cy="202069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475F752-C82D-0F5B-FF06-65EBDE3B52DD}"/>
              </a:ext>
            </a:extLst>
          </p:cNvPr>
          <p:cNvSpPr/>
          <p:nvPr/>
        </p:nvSpPr>
        <p:spPr>
          <a:xfrm>
            <a:off x="6869131" y="3428785"/>
            <a:ext cx="1146157" cy="242888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0383879-A125-2DD7-B861-2B2CF44D42FF}"/>
              </a:ext>
            </a:extLst>
          </p:cNvPr>
          <p:cNvSpPr/>
          <p:nvPr/>
        </p:nvSpPr>
        <p:spPr>
          <a:xfrm rot="2460515">
            <a:off x="7769950" y="3831638"/>
            <a:ext cx="1292311" cy="246619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F3F3657-6EA4-0576-8055-AAF73B796974}"/>
              </a:ext>
            </a:extLst>
          </p:cNvPr>
          <p:cNvSpPr/>
          <p:nvPr/>
        </p:nvSpPr>
        <p:spPr>
          <a:xfrm>
            <a:off x="5122306" y="3851496"/>
            <a:ext cx="966787" cy="24288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3D0B664-4AA4-C074-F90D-7E5E4C67BAD1}"/>
              </a:ext>
            </a:extLst>
          </p:cNvPr>
          <p:cNvSpPr/>
          <p:nvPr/>
        </p:nvSpPr>
        <p:spPr>
          <a:xfrm rot="1292268">
            <a:off x="5982471" y="4050757"/>
            <a:ext cx="966787" cy="24288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F6A6F0C4-2D3A-BE43-8C1D-62850DF36361}"/>
              </a:ext>
            </a:extLst>
          </p:cNvPr>
          <p:cNvSpPr/>
          <p:nvPr/>
        </p:nvSpPr>
        <p:spPr>
          <a:xfrm rot="1624291">
            <a:off x="6659300" y="4460763"/>
            <a:ext cx="1400425" cy="26289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D649143A-2293-51F2-2733-E83DC1D5E93A}"/>
              </a:ext>
            </a:extLst>
          </p:cNvPr>
          <p:cNvSpPr/>
          <p:nvPr/>
        </p:nvSpPr>
        <p:spPr>
          <a:xfrm rot="17985059">
            <a:off x="7283361" y="3917626"/>
            <a:ext cx="2093558" cy="21790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Graphic 25" descr="Caret Up with solid fill">
            <a:extLst>
              <a:ext uri="{FF2B5EF4-FFF2-40B4-BE49-F238E27FC236}">
                <a16:creationId xmlns:a16="http://schemas.microsoft.com/office/drawing/2014/main" id="{00FD3F9E-268B-EF5F-D7E2-D514C58C9C9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897916" y="4380718"/>
            <a:ext cx="914400" cy="914400"/>
          </a:xfrm>
          <a:prstGeom prst="rect">
            <a:avLst/>
          </a:prstGeom>
        </p:spPr>
      </p:pic>
      <p:pic>
        <p:nvPicPr>
          <p:cNvPr id="28" name="Graphic 27" descr="Business Growth with solid fill">
            <a:extLst>
              <a:ext uri="{FF2B5EF4-FFF2-40B4-BE49-F238E27FC236}">
                <a16:creationId xmlns:a16="http://schemas.microsoft.com/office/drawing/2014/main" id="{5519C15A-72E6-BA71-AE90-16316E29F3B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295470" y="3550229"/>
            <a:ext cx="757320" cy="75732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4847910A-577D-44F1-8184-2A21BCD5972E}"/>
              </a:ext>
            </a:extLst>
          </p:cNvPr>
          <p:cNvSpPr/>
          <p:nvPr/>
        </p:nvSpPr>
        <p:spPr>
          <a:xfrm rot="20142184">
            <a:off x="5087677" y="4500564"/>
            <a:ext cx="1181766" cy="179875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4F4D0F31-A6FC-89A3-5491-33059F8465A5}"/>
              </a:ext>
            </a:extLst>
          </p:cNvPr>
          <p:cNvSpPr/>
          <p:nvPr/>
        </p:nvSpPr>
        <p:spPr>
          <a:xfrm rot="1643894">
            <a:off x="6075256" y="4475903"/>
            <a:ext cx="1097670" cy="15844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855A3D7-1824-C03C-CBC7-68B2C6B36831}"/>
              </a:ext>
            </a:extLst>
          </p:cNvPr>
          <p:cNvSpPr/>
          <p:nvPr/>
        </p:nvSpPr>
        <p:spPr>
          <a:xfrm rot="17839647">
            <a:off x="6488410" y="3939399"/>
            <a:ext cx="1956913" cy="16637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D1304BA-1090-10F6-3560-F13A92BF5A99}"/>
              </a:ext>
            </a:extLst>
          </p:cNvPr>
          <p:cNvSpPr/>
          <p:nvPr/>
        </p:nvSpPr>
        <p:spPr>
          <a:xfrm rot="2501827">
            <a:off x="7670077" y="3463592"/>
            <a:ext cx="1356457" cy="16472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0ACA55A-1FFA-D57E-6E0C-62BD12076BAD}"/>
              </a:ext>
            </a:extLst>
          </p:cNvPr>
          <p:cNvSpPr/>
          <p:nvPr/>
        </p:nvSpPr>
        <p:spPr>
          <a:xfrm rot="20142184">
            <a:off x="5067767" y="4907891"/>
            <a:ext cx="1181766" cy="1798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9A73188-0656-F6B7-CCB4-333BC1D98B0E}"/>
              </a:ext>
            </a:extLst>
          </p:cNvPr>
          <p:cNvSpPr/>
          <p:nvPr/>
        </p:nvSpPr>
        <p:spPr>
          <a:xfrm rot="2482037">
            <a:off x="6613965" y="3829637"/>
            <a:ext cx="2611517" cy="21186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775FB58-8006-EA3E-6A7A-B2E415920187}"/>
              </a:ext>
            </a:extLst>
          </p:cNvPr>
          <p:cNvSpPr/>
          <p:nvPr/>
        </p:nvSpPr>
        <p:spPr>
          <a:xfrm rot="17730489">
            <a:off x="5596821" y="3830850"/>
            <a:ext cx="2016129" cy="19607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6187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00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1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6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5" grpId="1" animBg="1"/>
      <p:bldP spid="17" grpId="0" animBg="1"/>
      <p:bldP spid="17" grpId="1" animBg="1"/>
      <p:bldP spid="19" grpId="0" animBg="1"/>
      <p:bldP spid="19" grpId="1" animBg="1"/>
      <p:bldP spid="20" grpId="0" animBg="1"/>
      <p:bldP spid="20" grpId="1" animBg="1"/>
      <p:bldP spid="21" grpId="0" animBg="1"/>
      <p:bldP spid="21" grpId="1" animBg="1"/>
      <p:bldP spid="22" grpId="0" animBg="1"/>
      <p:bldP spid="22" grpId="1" animBg="1"/>
      <p:bldP spid="23" grpId="0" animBg="1"/>
      <p:bldP spid="23" grpId="1" animBg="1"/>
      <p:bldP spid="24" grpId="0" animBg="1"/>
      <p:bldP spid="24" grpId="1" animBg="1"/>
      <p:bldP spid="29" grpId="0" animBg="1"/>
      <p:bldP spid="30" grpId="0" animBg="1"/>
      <p:bldP spid="31" grpId="0" animBg="1"/>
      <p:bldP spid="32" grpId="0" animBg="1"/>
      <p:bldP spid="33" grpId="0" animBg="1"/>
      <p:bldP spid="35" grpId="0" animBg="1"/>
      <p:bldP spid="3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NTIMETER_SERIES_ID_KEY" val="al3hv1ztxpf83rsix3qd8gkjnpvzynzj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webextension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3.png"/></Relationships>
</file>

<file path=ppt/webextensions/_rels/webextension2.xml.rels><?xml version="1.0" encoding="UTF-8" standalone="yes"?>
<Relationships xmlns="http://schemas.openxmlformats.org/package/2006/relationships"><Relationship Id="rId1" Type="http://schemas.openxmlformats.org/officeDocument/2006/relationships/image" Target="../media/image33.png"/></Relationships>
</file>

<file path=ppt/webextensions/_rels/webextension3.xml.rels><?xml version="1.0" encoding="UTF-8" standalone="yes"?>
<Relationships xmlns="http://schemas.openxmlformats.org/package/2006/relationships"><Relationship Id="rId1" Type="http://schemas.openxmlformats.org/officeDocument/2006/relationships/image" Target="../media/image47.png"/></Relationships>
</file>

<file path=ppt/webextensions/_rels/webextension4.xml.rels><?xml version="1.0" encoding="UTF-8" standalone="yes"?>
<Relationships xmlns="http://schemas.openxmlformats.org/package/2006/relationships"><Relationship Id="rId1" Type="http://schemas.openxmlformats.org/officeDocument/2006/relationships/image" Target="../media/image48.png"/></Relationships>
</file>

<file path=ppt/webextensions/_rels/webextension5.xml.rels><?xml version="1.0" encoding="UTF-8" standalone="yes"?>
<Relationships xmlns="http://schemas.openxmlformats.org/package/2006/relationships"><Relationship Id="rId1" Type="http://schemas.openxmlformats.org/officeDocument/2006/relationships/image" Target="../media/image49.png"/></Relationships>
</file>

<file path=ppt/webextensions/webextension1.xml><?xml version="1.0" encoding="utf-8"?>
<we:webextension xmlns:we="http://schemas.microsoft.com/office/webextensions/webextension/2010/11" id="{91DA9598-DC62-497A-8667-7BD7F00AA8C3}">
  <we:reference id="wa104379261" version="4.3.0.0" store="en-US" storeType="OMEX"/>
  <we:alternateReferences>
    <we:reference id="wa104379261" version="4.3.0.0" store="wa104379261" storeType="OMEX"/>
  </we:alternateReferences>
  <we:properties>
    <we:property name="MENTIMETER_INSTRUCTIONS_KEY" value="&quot;true&quot;"/>
    <we:property name="MENTIMETER_QUESTION_ID_KEY" value="&quot;u8fj6rc963vz&quot;"/>
    <we:property name="MENTIMETER_SHOW_JOIN_INSTRUCTIONS" value="&quot;true&quot;"/>
    <we:property name="MENTIMETER_FONT_SIZE_MODIFIER_KEY" value="&quot;-2&quot;"/>
  </we:properties>
  <we:bindings/>
  <we:snapshot xmlns:r="http://schemas.openxmlformats.org/officeDocument/2006/relationships" r:embed="rId1"/>
</we:webextension>
</file>

<file path=ppt/webextensions/webextension2.xml><?xml version="1.0" encoding="utf-8"?>
<we:webextension xmlns:we="http://schemas.microsoft.com/office/webextensions/webextension/2010/11" id="{5FB6656F-28A2-42D4-9187-979FEC67BEB5}">
  <we:reference id="wa104379261" version="4.3.0.0" store="en-US" storeType="OMEX"/>
  <we:alternateReferences>
    <we:reference id="wa104379261" version="4.3.0.0" store="wa104379261" storeType="OMEX"/>
  </we:alternateReferences>
  <we:properties>
    <we:property name="MENTIMETER_QUESTION_ID_KEY" value="&quot;wzbv8kp8wfvg&quot;"/>
    <we:property name="MENTIMETER_SHOW_JOIN_INSTRUCTIONS" value="&quot;true&quot;"/>
    <we:property name="MENTIMETER_INSTRUCTIONS_KEY" value="&quot;true&quot;"/>
  </we:properties>
  <we:bindings/>
  <we:snapshot xmlns:r="http://schemas.openxmlformats.org/officeDocument/2006/relationships" r:embed="rId1"/>
</we:webextension>
</file>

<file path=ppt/webextensions/webextension3.xml><?xml version="1.0" encoding="utf-8"?>
<we:webextension xmlns:we="http://schemas.microsoft.com/office/webextensions/webextension/2010/11" id="{E39019BD-98C7-4BA2-B5AB-F8D51EE34246}">
  <we:reference id="wa104379261" version="4.3.0.0" store="en-US" storeType="OMEX"/>
  <we:alternateReferences>
    <we:reference id="wa104379261" version="4.3.0.0" store="wa104379261" storeType="OMEX"/>
  </we:alternateReferences>
  <we:properties>
    <we:property name="MENTIMETER_FONT_SIZE_MODIFIER_KEY" value="&quot;-2&quot;"/>
    <we:property name="MENTIMETER_QUESTION_ID_KEY" value="&quot;ku5svozaibd6&quot;"/>
    <we:property name="MENTIMETER_SHOW_JOIN_INSTRUCTIONS" value="&quot;true&quot;"/>
    <we:property name="MENTIMETER_INSTRUCTIONS_KEY" value="&quot;true&quot;"/>
  </we:properties>
  <we:bindings/>
  <we:snapshot xmlns:r="http://schemas.openxmlformats.org/officeDocument/2006/relationships" r:embed="rId1"/>
</we:webextension>
</file>

<file path=ppt/webextensions/webextension4.xml><?xml version="1.0" encoding="utf-8"?>
<we:webextension xmlns:we="http://schemas.microsoft.com/office/webextensions/webextension/2010/11" id="{A069F743-AC61-4701-9C06-933E3D5B451F}">
  <we:reference id="wa104379261" version="4.3.0.0" store="en-US" storeType="OMEX"/>
  <we:alternateReferences>
    <we:reference id="wa104379261" version="4.3.0.0" store="wa104379261" storeType="OMEX"/>
  </we:alternateReferences>
  <we:properties>
    <we:property name="MENTIMETER_QUESTION_ID_KEY" value="&quot;9ab7c5wf28f9&quot;"/>
    <we:property name="MENTIMETER_INSTRUCTIONS_KEY" value="&quot;true&quot;"/>
    <we:property name="MENTIMETER_SHOW_JOIN_INSTRUCTIONS" value="&quot;true&quot;"/>
  </we:properties>
  <we:bindings/>
  <we:snapshot xmlns:r="http://schemas.openxmlformats.org/officeDocument/2006/relationships" r:embed="rId1"/>
</we:webextension>
</file>

<file path=ppt/webextensions/webextension5.xml><?xml version="1.0" encoding="utf-8"?>
<we:webextension xmlns:we="http://schemas.microsoft.com/office/webextensions/webextension/2010/11" id="{6D4206D0-B623-4B49-85A7-9C427469F509}">
  <we:reference id="wa104379261" version="4.3.0.0" store="en-US" storeType="OMEX"/>
  <we:alternateReferences>
    <we:reference id="wa104379261" version="4.3.0.0" store="wa104379261" storeType="OMEX"/>
  </we:alternateReferences>
  <we:properties>
    <we:property name="MENTIMETER_QUESTION_ID_KEY" value="&quot;k6mcfjf5baqw&quot;"/>
    <we:property name="MENTIMETER_SHOW_JOIN_INSTRUCTIONS" value="&quot;true&quot;"/>
    <we:property name="MENTIMETER_INSTRUCTIONS_KEY" value="&quot;true&quot;"/>
  </we:properties>
  <we:bindings/>
  <we:snapshot xmlns:r="http://schemas.openxmlformats.org/officeDocument/2006/relationships" r:embed="rId1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Office Theme 2013 - 2022</Template>
  <TotalTime>3100</TotalTime>
  <Words>498</Words>
  <Application>Microsoft Office PowerPoint</Application>
  <PresentationFormat>Widescreen</PresentationFormat>
  <Paragraphs>76</Paragraphs>
  <Slides>1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5" baseType="lpstr">
      <vt:lpstr>Arial</vt:lpstr>
      <vt:lpstr>Calibri</vt:lpstr>
      <vt:lpstr>Calibri Light</vt:lpstr>
      <vt:lpstr>Roboto</vt:lpstr>
      <vt:lpstr>Söhne</vt:lpstr>
      <vt:lpstr>Office Theme</vt:lpstr>
      <vt:lpstr>1_Office Theme</vt:lpstr>
      <vt:lpstr>think-cell Slide</vt:lpstr>
      <vt:lpstr>PowerPoint Presentation</vt:lpstr>
      <vt:lpstr>PowerPoint Presentation</vt:lpstr>
      <vt:lpstr>Looking Back</vt:lpstr>
      <vt:lpstr>The Environment, Society &amp; Water </vt:lpstr>
      <vt:lpstr>Today</vt:lpstr>
      <vt:lpstr>State of the Water Industry (2004 – 2023) In your opinion, what is the current overall state of the water industry?  How sound will the overall water industry be 5 years from now?  (1 = not sound at all, 7 = very sound) </vt:lpstr>
      <vt:lpstr>PowerPoint Presentation</vt:lpstr>
      <vt:lpstr>PowerPoint Presentation</vt:lpstr>
      <vt:lpstr>Water Sector Challenges: Trends over Time (2019-2023)</vt:lpstr>
      <vt:lpstr>The Future</vt:lpstr>
      <vt:lpstr>PowerPoint Presentation</vt:lpstr>
      <vt:lpstr>What will 2050 Look Like?</vt:lpstr>
      <vt:lpstr>PowerPoint Presentation</vt:lpstr>
      <vt:lpstr>Game Changers</vt:lpstr>
      <vt:lpstr>PowerPoint Presentation</vt:lpstr>
      <vt:lpstr>PowerPoint Presentation</vt:lpstr>
      <vt:lpstr>Discuss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gie Miller</dc:creator>
  <cp:lastModifiedBy>Angie Miller</cp:lastModifiedBy>
  <cp:revision>5</cp:revision>
  <cp:lastPrinted>2023-08-22T15:10:49Z</cp:lastPrinted>
  <dcterms:created xsi:type="dcterms:W3CDTF">2023-08-14T16:58:45Z</dcterms:created>
  <dcterms:modified xsi:type="dcterms:W3CDTF">2023-08-22T21:09:02Z</dcterms:modified>
</cp:coreProperties>
</file>